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4"/>
  </p:notesMasterIdLst>
  <p:handoutMasterIdLst>
    <p:handoutMasterId r:id="rId45"/>
  </p:handoutMasterIdLst>
  <p:sldIdLst>
    <p:sldId id="485" r:id="rId5"/>
    <p:sldId id="474" r:id="rId6"/>
    <p:sldId id="559" r:id="rId7"/>
    <p:sldId id="549" r:id="rId8"/>
    <p:sldId id="526" r:id="rId9"/>
    <p:sldId id="527" r:id="rId10"/>
    <p:sldId id="506" r:id="rId11"/>
    <p:sldId id="548" r:id="rId12"/>
    <p:sldId id="529" r:id="rId13"/>
    <p:sldId id="500" r:id="rId14"/>
    <p:sldId id="528" r:id="rId15"/>
    <p:sldId id="505" r:id="rId16"/>
    <p:sldId id="495" r:id="rId17"/>
    <p:sldId id="496" r:id="rId18"/>
    <p:sldId id="532" r:id="rId19"/>
    <p:sldId id="520" r:id="rId20"/>
    <p:sldId id="521" r:id="rId21"/>
    <p:sldId id="550" r:id="rId22"/>
    <p:sldId id="530" r:id="rId23"/>
    <p:sldId id="535" r:id="rId24"/>
    <p:sldId id="536" r:id="rId25"/>
    <p:sldId id="551" r:id="rId26"/>
    <p:sldId id="552" r:id="rId27"/>
    <p:sldId id="553" r:id="rId28"/>
    <p:sldId id="555" r:id="rId29"/>
    <p:sldId id="554" r:id="rId30"/>
    <p:sldId id="558" r:id="rId31"/>
    <p:sldId id="556" r:id="rId32"/>
    <p:sldId id="557" r:id="rId33"/>
    <p:sldId id="531" r:id="rId34"/>
    <p:sldId id="537" r:id="rId35"/>
    <p:sldId id="541" r:id="rId36"/>
    <p:sldId id="539" r:id="rId37"/>
    <p:sldId id="542" r:id="rId38"/>
    <p:sldId id="544" r:id="rId39"/>
    <p:sldId id="545" r:id="rId40"/>
    <p:sldId id="546" r:id="rId41"/>
    <p:sldId id="547" r:id="rId42"/>
    <p:sldId id="351" r:id="rId43"/>
  </p:sldIdLst>
  <p:sldSz cx="12192000" cy="6858000"/>
  <p:notesSz cx="6808788" cy="9940925"/>
  <p:custDataLst>
    <p:tags r:id="rId46"/>
  </p:custDataLst>
  <p:defaultText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ois Requin" initials="AR" lastIdx="1" clrIdx="0">
    <p:extLst>
      <p:ext uri="{19B8F6BF-5375-455C-9EA6-DF929625EA0E}">
        <p15:presenceInfo xmlns:p15="http://schemas.microsoft.com/office/powerpoint/2012/main" userId="S::ALZR@twobirds.com::18122960-cf3d-43b8-b31e-dd9acffc02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169"/>
    <a:srgbClr val="85ABE3"/>
    <a:srgbClr val="005C82"/>
    <a:srgbClr val="9EDED4"/>
    <a:srgbClr val="323E48"/>
    <a:srgbClr val="F0F0F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6E914CF-E091-4348-A3B9-0B77A1330A93}">
  <a:tblStyle styleId="{B6E914CF-E091-4348-A3B9-0B77A1330A93}" styleName="Bird &amp; Bird">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5C22544A-7EE6-4342-B048-85BDC9FD1C3A}" styleName="Medium Style 2 - Accent 1">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0" autoAdjust="0"/>
    <p:restoredTop sz="95179" autoAdjust="0"/>
  </p:normalViewPr>
  <p:slideViewPr>
    <p:cSldViewPr snapToGrid="0">
      <p:cViewPr varScale="1">
        <p:scale>
          <a:sx n="110" d="100"/>
          <a:sy n="110" d="100"/>
        </p:scale>
        <p:origin x="546" y="10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9610"/>
    </p:cViewPr>
  </p:sorterViewPr>
  <p:notesViewPr>
    <p:cSldViewPr snapToGrid="0" showGuides="1">
      <p:cViewPr varScale="1">
        <p:scale>
          <a:sx n="80" d="100"/>
          <a:sy n="80" d="100"/>
        </p:scale>
        <p:origin x="3762"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2A3464-1F9C-4FB9-A86F-089F2DC6D59E}"/>
              </a:ext>
            </a:extLst>
          </p:cNvPr>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A819BC2-36D0-4B45-94A9-C78D4BBBF98D}"/>
              </a:ext>
            </a:extLst>
          </p:cNvPr>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132140E2-8FE0-477F-ABCA-0D9406DC1A18}" type="datetimeFigureOut">
              <a:rPr lang="en-GB" smtClean="0"/>
              <a:t>07/06/2022</a:t>
            </a:fld>
            <a:endParaRPr lang="en-GB"/>
          </a:p>
        </p:txBody>
      </p:sp>
      <p:sp>
        <p:nvSpPr>
          <p:cNvPr id="4" name="Footer Placeholder 3">
            <a:extLst>
              <a:ext uri="{FF2B5EF4-FFF2-40B4-BE49-F238E27FC236}">
                <a16:creationId xmlns:a16="http://schemas.microsoft.com/office/drawing/2014/main" id="{7BA8E174-17F4-440A-AD2E-52D18133EF92}"/>
              </a:ext>
            </a:extLst>
          </p:cNvPr>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005D94D-0467-41F1-8CC3-AE76EC28932C}"/>
              </a:ext>
            </a:extLst>
          </p:cNvPr>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5E126785-7F39-4491-A6ED-08A7BD8E2ECE}" type="slidenum">
              <a:rPr lang="en-GB" smtClean="0"/>
              <a:t>‹#›</a:t>
            </a:fld>
            <a:endParaRPr lang="en-GB"/>
          </a:p>
        </p:txBody>
      </p:sp>
    </p:spTree>
    <p:extLst>
      <p:ext uri="{BB962C8B-B14F-4D97-AF65-F5344CB8AC3E}">
        <p14:creationId xmlns:p14="http://schemas.microsoft.com/office/powerpoint/2010/main" val="3722475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96B173CE-6B02-426E-8088-47D675976D29}" type="datetimeFigureOut">
              <a:rPr lang="en-GB" smtClean="0"/>
              <a:t>07/06/2022</a:t>
            </a:fld>
            <a:endParaRPr lang="en-GB"/>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57AA0218-8EA7-46C1-B12C-665269A91A87}" type="slidenum">
              <a:rPr lang="en-GB" smtClean="0"/>
              <a:t>‹#›</a:t>
            </a:fld>
            <a:endParaRPr lang="en-GB"/>
          </a:p>
        </p:txBody>
      </p:sp>
    </p:spTree>
    <p:extLst>
      <p:ext uri="{BB962C8B-B14F-4D97-AF65-F5344CB8AC3E}">
        <p14:creationId xmlns:p14="http://schemas.microsoft.com/office/powerpoint/2010/main" val="2895932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userDrawn="1">
            <p:ph type="dt" sz="half" idx="10"/>
          </p:nvPr>
        </p:nvSpPr>
        <p:spPr>
          <a:xfrm>
            <a:off x="719138" y="4653512"/>
            <a:ext cx="1655715"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userDrawn="1">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userDrawn="1">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08D0C1AC-DB08-43CD-AC26-CF417079F7D7}"/>
              </a:ext>
            </a:extLst>
          </p:cNvPr>
          <p:cNvSpPr/>
          <p:nvPr/>
        </p:nvSpPr>
        <p:spPr>
          <a:xfrm>
            <a:off x="0" y="8335"/>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A095166-32E5-42E9-83A1-AD237E1F5588}"/>
              </a:ext>
            </a:extLst>
          </p:cNvPr>
          <p:cNvSpPr/>
          <p:nvPr/>
        </p:nvSpPr>
        <p:spPr>
          <a:xfrm>
            <a:off x="9082622" y="1746273"/>
            <a:ext cx="3109379" cy="4479053"/>
          </a:xfrm>
          <a:custGeom>
            <a:avLst/>
            <a:gdLst>
              <a:gd name="connsiteX0" fmla="*/ 133363 w 3109379"/>
              <a:gd name="connsiteY0" fmla="*/ 0 h 4479053"/>
              <a:gd name="connsiteX1" fmla="*/ 1912063 w 3109379"/>
              <a:gd name="connsiteY1" fmla="*/ 0 h 4479053"/>
              <a:gd name="connsiteX2" fmla="*/ 2044359 w 3109379"/>
              <a:gd name="connsiteY2" fmla="*/ 116544 h 4479053"/>
              <a:gd name="connsiteX3" fmla="*/ 2073638 w 3109379"/>
              <a:gd name="connsiteY3" fmla="*/ 660203 h 4479053"/>
              <a:gd name="connsiteX4" fmla="*/ 3028725 w 3109379"/>
              <a:gd name="connsiteY4" fmla="*/ 3954882 h 4479053"/>
              <a:gd name="connsiteX5" fmla="*/ 3109379 w 3109379"/>
              <a:gd name="connsiteY5" fmla="*/ 4060781 h 4479053"/>
              <a:gd name="connsiteX6" fmla="*/ 3109379 w 3109379"/>
              <a:gd name="connsiteY6" fmla="*/ 4479053 h 4479053"/>
              <a:gd name="connsiteX7" fmla="*/ 3086052 w 3109379"/>
              <a:gd name="connsiteY7" fmla="*/ 4453039 h 4479053"/>
              <a:gd name="connsiteX8" fmla="*/ 2938406 w 3109379"/>
              <a:gd name="connsiteY8" fmla="*/ 4273886 h 4479053"/>
              <a:gd name="connsiteX9" fmla="*/ 2172651 w 3109379"/>
              <a:gd name="connsiteY9" fmla="*/ 2924999 h 4479053"/>
              <a:gd name="connsiteX10" fmla="*/ 1806996 w 3109379"/>
              <a:gd name="connsiteY10" fmla="*/ 667133 h 4479053"/>
              <a:gd name="connsiteX11" fmla="*/ 1791103 w 3109379"/>
              <a:gd name="connsiteY11" fmla="*/ 266725 h 4479053"/>
              <a:gd name="connsiteX12" fmla="*/ 133363 w 3109379"/>
              <a:gd name="connsiteY12" fmla="*/ 266725 h 4479053"/>
              <a:gd name="connsiteX13" fmla="*/ 0 w 3109379"/>
              <a:gd name="connsiteY13" fmla="*/ 133363 h 4479053"/>
              <a:gd name="connsiteX14" fmla="*/ 133363 w 3109379"/>
              <a:gd name="connsiteY14" fmla="*/ 0 h 447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9379" h="4479053">
                <a:moveTo>
                  <a:pt x="133363" y="0"/>
                </a:moveTo>
                <a:lnTo>
                  <a:pt x="1912063" y="0"/>
                </a:lnTo>
                <a:cubicBezTo>
                  <a:pt x="1979214" y="0"/>
                  <a:pt x="2035891" y="49929"/>
                  <a:pt x="2044359" y="116544"/>
                </a:cubicBezTo>
                <a:cubicBezTo>
                  <a:pt x="2063397" y="266291"/>
                  <a:pt x="2068143" y="448836"/>
                  <a:pt x="2073638" y="660203"/>
                </a:cubicBezTo>
                <a:cubicBezTo>
                  <a:pt x="2095201" y="1489639"/>
                  <a:pt x="2127205" y="2720705"/>
                  <a:pt x="3028725" y="3954882"/>
                </a:cubicBezTo>
                <a:lnTo>
                  <a:pt x="3109379" y="4060781"/>
                </a:lnTo>
                <a:lnTo>
                  <a:pt x="3109379" y="4479053"/>
                </a:lnTo>
                <a:lnTo>
                  <a:pt x="3086052" y="4453039"/>
                </a:lnTo>
                <a:cubicBezTo>
                  <a:pt x="3035183" y="4393895"/>
                  <a:pt x="2985959" y="4334170"/>
                  <a:pt x="2938406" y="4273886"/>
                </a:cubicBezTo>
                <a:cubicBezTo>
                  <a:pt x="2615252" y="3866347"/>
                  <a:pt x="2356959" y="3411359"/>
                  <a:pt x="2172651" y="2924999"/>
                </a:cubicBezTo>
                <a:cubicBezTo>
                  <a:pt x="1842928" y="2049115"/>
                  <a:pt x="1822159" y="1250360"/>
                  <a:pt x="1806996" y="667133"/>
                </a:cubicBezTo>
                <a:cubicBezTo>
                  <a:pt x="1803094" y="517020"/>
                  <a:pt x="1799582" y="381953"/>
                  <a:pt x="1791103" y="266725"/>
                </a:cubicBezTo>
                <a:lnTo>
                  <a:pt x="133363" y="266725"/>
                </a:lnTo>
                <a:cubicBezTo>
                  <a:pt x="59708" y="266725"/>
                  <a:pt x="0" y="207017"/>
                  <a:pt x="0" y="133363"/>
                </a:cubicBezTo>
                <a:cubicBezTo>
                  <a:pt x="0" y="59708"/>
                  <a:pt x="59708" y="0"/>
                  <a:pt x="133363" y="0"/>
                </a:cubicBezTo>
                <a:close/>
              </a:path>
            </a:pathLst>
          </a:custGeom>
          <a:solidFill>
            <a:srgbClr val="005C82"/>
          </a:solidFill>
          <a:ln w="1270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529F8AE1-20CF-44F6-BB91-769A89EAC6A4}"/>
              </a:ext>
            </a:extLst>
          </p:cNvPr>
          <p:cNvSpPr/>
          <p:nvPr userDrawn="1"/>
        </p:nvSpPr>
        <p:spPr>
          <a:xfrm>
            <a:off x="5050893" y="0"/>
            <a:ext cx="4385676" cy="2013647"/>
          </a:xfrm>
          <a:custGeom>
            <a:avLst/>
            <a:gdLst>
              <a:gd name="connsiteX0" fmla="*/ 0 w 4385676"/>
              <a:gd name="connsiteY0" fmla="*/ 0 h 2013647"/>
              <a:gd name="connsiteX1" fmla="*/ 322476 w 4385676"/>
              <a:gd name="connsiteY1" fmla="*/ 0 h 2013647"/>
              <a:gd name="connsiteX2" fmla="*/ 382850 w 4385676"/>
              <a:gd name="connsiteY2" fmla="*/ 87045 h 2013647"/>
              <a:gd name="connsiteX3" fmla="*/ 2026201 w 4385676"/>
              <a:gd name="connsiteY3" fmla="*/ 1365797 h 2013647"/>
              <a:gd name="connsiteX4" fmla="*/ 4251339 w 4385676"/>
              <a:gd name="connsiteY4" fmla="*/ 1746706 h 2013647"/>
              <a:gd name="connsiteX5" fmla="*/ 4385673 w 4385676"/>
              <a:gd name="connsiteY5" fmla="*/ 1879097 h 2013647"/>
              <a:gd name="connsiteX6" fmla="*/ 4253282 w 4385676"/>
              <a:gd name="connsiteY6" fmla="*/ 2013431 h 2013647"/>
              <a:gd name="connsiteX7" fmla="*/ 4193287 w 4385676"/>
              <a:gd name="connsiteY7" fmla="*/ 2013647 h 2013647"/>
              <a:gd name="connsiteX8" fmla="*/ 1924855 w 4385676"/>
              <a:gd name="connsiteY8" fmla="*/ 1612527 h 2013647"/>
              <a:gd name="connsiteX9" fmla="*/ 27862 w 4385676"/>
              <a:gd name="connsiteY9" fmla="*/ 45293 h 2013647"/>
              <a:gd name="connsiteX10" fmla="*/ 0 w 4385676"/>
              <a:gd name="connsiteY10" fmla="*/ 0 h 20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5676" h="2013647">
                <a:moveTo>
                  <a:pt x="0" y="0"/>
                </a:moveTo>
                <a:lnTo>
                  <a:pt x="322476" y="0"/>
                </a:lnTo>
                <a:lnTo>
                  <a:pt x="382850" y="87045"/>
                </a:lnTo>
                <a:cubicBezTo>
                  <a:pt x="807526" y="662942"/>
                  <a:pt x="1356643" y="1090795"/>
                  <a:pt x="2026201" y="1365797"/>
                </a:cubicBezTo>
                <a:cubicBezTo>
                  <a:pt x="2656615" y="1624715"/>
                  <a:pt x="3405283" y="1752930"/>
                  <a:pt x="4251339" y="1746706"/>
                </a:cubicBezTo>
                <a:cubicBezTo>
                  <a:pt x="4324994" y="1746170"/>
                  <a:pt x="4385137" y="1805443"/>
                  <a:pt x="4385673" y="1879097"/>
                </a:cubicBezTo>
                <a:cubicBezTo>
                  <a:pt x="4386210" y="1952752"/>
                  <a:pt x="4326936" y="2012895"/>
                  <a:pt x="4253282" y="2013431"/>
                </a:cubicBezTo>
                <a:cubicBezTo>
                  <a:pt x="4233262" y="2013569"/>
                  <a:pt x="4213210" y="2013647"/>
                  <a:pt x="4193287" y="2013647"/>
                </a:cubicBezTo>
                <a:cubicBezTo>
                  <a:pt x="3336002" y="2013647"/>
                  <a:pt x="2573148" y="1878784"/>
                  <a:pt x="1924855" y="1612527"/>
                </a:cubicBezTo>
                <a:cubicBezTo>
                  <a:pt x="1131246" y="1286568"/>
                  <a:pt x="496966" y="761828"/>
                  <a:pt x="27862" y="45293"/>
                </a:cubicBezTo>
                <a:lnTo>
                  <a:pt x="0" y="0"/>
                </a:lnTo>
                <a:close/>
              </a:path>
            </a:pathLst>
          </a:custGeom>
          <a:solidFill>
            <a:srgbClr val="9EDED4"/>
          </a:solidFill>
          <a:ln w="12700" cap="flat">
            <a:noFill/>
            <a:prstDash val="solid"/>
            <a:miter/>
          </a:ln>
        </p:spPr>
        <p:txBody>
          <a:bodyPr rtlCol="0" anchor="ctr"/>
          <a:lstStyle/>
          <a:p>
            <a:endParaRPr lang="en-GB"/>
          </a:p>
        </p:txBody>
      </p:sp>
      <p:sp>
        <p:nvSpPr>
          <p:cNvPr id="27" name="Picture Placeholder 1">
            <a:extLst>
              <a:ext uri="{FF2B5EF4-FFF2-40B4-BE49-F238E27FC236}">
                <a16:creationId xmlns:a16="http://schemas.microsoft.com/office/drawing/2014/main" id="{58796B95-BF41-4F4C-A925-88BB4F6B8DDC}"/>
              </a:ext>
            </a:extLst>
          </p:cNvPr>
          <p:cNvSpPr>
            <a:spLocks noGrp="1"/>
          </p:cNvSpPr>
          <p:nvPr userDrawn="1">
            <p:ph type="pic" sz="quarter" idx="11"/>
          </p:nvPr>
        </p:nvSpPr>
        <p:spPr>
          <a:xfrm>
            <a:off x="7811228" y="719138"/>
            <a:ext cx="4376737" cy="5418137"/>
          </a:xfrm>
        </p:spPr>
        <p:txBody>
          <a:bodyPr/>
          <a:lstStyle/>
          <a:p>
            <a:r>
              <a:rPr lang="en-US"/>
              <a:t>Click icon to add picture</a:t>
            </a:r>
            <a:endParaRPr lang="en-GB" dirty="0"/>
          </a:p>
        </p:txBody>
      </p:sp>
    </p:spTree>
    <p:extLst>
      <p:ext uri="{BB962C8B-B14F-4D97-AF65-F5344CB8AC3E}">
        <p14:creationId xmlns:p14="http://schemas.microsoft.com/office/powerpoint/2010/main" val="1609420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7377149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 2">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7718728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80184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8" y="666745"/>
            <a:ext cx="8018462" cy="720000"/>
          </a:xfrm>
        </p:spPr>
        <p:txBody>
          <a:bodyPr/>
          <a:lstStyle/>
          <a:p>
            <a:r>
              <a:rPr lang="en-US"/>
              <a:t>Click to edit Master title style</a:t>
            </a:r>
            <a:endParaRPr lang="en-GB" dirty="0"/>
          </a:p>
        </p:txBody>
      </p:sp>
      <p:sp>
        <p:nvSpPr>
          <p:cNvPr id="13" name="Freeform: Shape 12">
            <a:extLst>
              <a:ext uri="{FF2B5EF4-FFF2-40B4-BE49-F238E27FC236}">
                <a16:creationId xmlns:a16="http://schemas.microsoft.com/office/drawing/2014/main" id="{DE495F12-C76F-40C5-B5B5-64A9DE3DCDFF}"/>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57328E-6812-414B-A3B7-E38242C70EA3}"/>
              </a:ext>
            </a:extLst>
          </p:cNvPr>
          <p:cNvSpPr/>
          <p:nvPr/>
        </p:nvSpPr>
        <p:spPr>
          <a:xfrm>
            <a:off x="3745977" y="0"/>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A558014-1610-414C-BB1A-A38E64AE4FA5}"/>
              </a:ext>
            </a:extLst>
          </p:cNvPr>
          <p:cNvSpPr/>
          <p:nvPr/>
        </p:nvSpPr>
        <p:spPr>
          <a:xfrm>
            <a:off x="0" y="4447921"/>
            <a:ext cx="3996047" cy="1168934"/>
          </a:xfrm>
          <a:custGeom>
            <a:avLst/>
            <a:gdLst>
              <a:gd name="connsiteX0" fmla="*/ 3868674 w 3996047"/>
              <a:gd name="connsiteY0" fmla="*/ 1155192 h 1168934"/>
              <a:gd name="connsiteX1" fmla="*/ 3995911 w 3996047"/>
              <a:gd name="connsiteY1" fmla="*/ 1015997 h 1168934"/>
              <a:gd name="connsiteX2" fmla="*/ 3856717 w 3996047"/>
              <a:gd name="connsiteY2" fmla="*/ 888760 h 1168934"/>
              <a:gd name="connsiteX3" fmla="*/ 3851148 w 3996047"/>
              <a:gd name="connsiteY3" fmla="*/ 889127 h 1168934"/>
              <a:gd name="connsiteX4" fmla="*/ 8255 w 3996047"/>
              <a:gd name="connsiteY4" fmla="*/ 4318 h 1168934"/>
              <a:gd name="connsiteX5" fmla="*/ 0 w 3996047"/>
              <a:gd name="connsiteY5" fmla="*/ 0 h 1168934"/>
              <a:gd name="connsiteX6" fmla="*/ 0 w 3996047"/>
              <a:gd name="connsiteY6" fmla="*/ 299212 h 1168934"/>
              <a:gd name="connsiteX7" fmla="*/ 1660144 w 3996047"/>
              <a:gd name="connsiteY7" fmla="*/ 931037 h 1168934"/>
              <a:gd name="connsiteX8" fmla="*/ 3868674 w 3996047"/>
              <a:gd name="connsiteY8" fmla="*/ 1155192 h 116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047" h="1168934">
                <a:moveTo>
                  <a:pt x="3868674" y="1155192"/>
                </a:moveTo>
                <a:cubicBezTo>
                  <a:pt x="3942247" y="1151890"/>
                  <a:pt x="3999213" y="1089570"/>
                  <a:pt x="3995911" y="1015997"/>
                </a:cubicBezTo>
                <a:cubicBezTo>
                  <a:pt x="3992610" y="942424"/>
                  <a:pt x="3930290" y="885458"/>
                  <a:pt x="3856717" y="888760"/>
                </a:cubicBezTo>
                <a:cubicBezTo>
                  <a:pt x="3854858" y="888843"/>
                  <a:pt x="3853001" y="888966"/>
                  <a:pt x="3851148" y="889127"/>
                </a:cubicBezTo>
                <a:cubicBezTo>
                  <a:pt x="2289048" y="991997"/>
                  <a:pt x="899414" y="464820"/>
                  <a:pt x="8255" y="4318"/>
                </a:cubicBezTo>
                <a:lnTo>
                  <a:pt x="0" y="0"/>
                </a:lnTo>
                <a:lnTo>
                  <a:pt x="0" y="299212"/>
                </a:lnTo>
                <a:cubicBezTo>
                  <a:pt x="530207" y="566292"/>
                  <a:pt x="1086527" y="778019"/>
                  <a:pt x="1660144" y="931037"/>
                </a:cubicBezTo>
                <a:cubicBezTo>
                  <a:pt x="2406904" y="1127379"/>
                  <a:pt x="3149600" y="1202563"/>
                  <a:pt x="3868674" y="1155192"/>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8879257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4">
    <p:bg>
      <p:bgPr>
        <a:solidFill>
          <a:schemeClr val="accent2"/>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2140498"/>
            <a:ext cx="4375151" cy="3274782"/>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40786023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title 5">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4530972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title 6">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9874942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7">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411244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8">
    <p:bg>
      <p:bgPr>
        <a:solidFill>
          <a:schemeClr val="accent5"/>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grpSp>
        <p:nvGrpSpPr>
          <p:cNvPr id="11" name="Group 10">
            <a:extLst>
              <a:ext uri="{FF2B5EF4-FFF2-40B4-BE49-F238E27FC236}">
                <a16:creationId xmlns:a16="http://schemas.microsoft.com/office/drawing/2014/main" id="{D202DB31-16C5-4FA3-852C-A940D8BE4910}"/>
              </a:ext>
            </a:extLst>
          </p:cNvPr>
          <p:cNvGrpSpPr/>
          <p:nvPr userDrawn="1"/>
        </p:nvGrpSpPr>
        <p:grpSpPr>
          <a:xfrm>
            <a:off x="10733882" y="0"/>
            <a:ext cx="1458118" cy="4629473"/>
            <a:chOff x="10733882" y="0"/>
            <a:chExt cx="1458118" cy="4629473"/>
          </a:xfrm>
        </p:grpSpPr>
        <p:sp>
          <p:nvSpPr>
            <p:cNvPr id="12" name="Freeform: Shape 11">
              <a:extLst>
                <a:ext uri="{FF2B5EF4-FFF2-40B4-BE49-F238E27FC236}">
                  <a16:creationId xmlns:a16="http://schemas.microsoft.com/office/drawing/2014/main" id="{7D4071B5-1F44-4E9B-9556-AA2FFAE39D46}"/>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80D39D0D-F812-465D-A10D-687AA803421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bg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138307496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9">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09733195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Right">
    <p:bg>
      <p:bgPr>
        <a:solidFill>
          <a:schemeClr val="accent2"/>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184899" y="2143471"/>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grpSp>
        <p:nvGrpSpPr>
          <p:cNvPr id="2" name="Group 1">
            <a:extLst>
              <a:ext uri="{FF2B5EF4-FFF2-40B4-BE49-F238E27FC236}">
                <a16:creationId xmlns:a16="http://schemas.microsoft.com/office/drawing/2014/main" id="{DD23392F-1141-48BF-934D-1B5AF5F59FAA}"/>
              </a:ext>
            </a:extLst>
          </p:cNvPr>
          <p:cNvGrpSpPr/>
          <p:nvPr userDrawn="1"/>
        </p:nvGrpSpPr>
        <p:grpSpPr>
          <a:xfrm>
            <a:off x="-1782691" y="240179"/>
            <a:ext cx="5985088" cy="6857999"/>
            <a:chOff x="-1782691" y="240179"/>
            <a:chExt cx="5985088" cy="6857999"/>
          </a:xfrm>
        </p:grpSpPr>
        <p:sp>
          <p:nvSpPr>
            <p:cNvPr id="11" name="Freeform: Shape 10">
              <a:extLst>
                <a:ext uri="{FF2B5EF4-FFF2-40B4-BE49-F238E27FC236}">
                  <a16:creationId xmlns:a16="http://schemas.microsoft.com/office/drawing/2014/main" id="{8BC97F1A-7072-4DD4-9C7D-20E5A7F3B667}"/>
                </a:ext>
              </a:extLst>
            </p:cNvPr>
            <p:cNvSpPr/>
            <p:nvPr/>
          </p:nvSpPr>
          <p:spPr>
            <a:xfrm flipH="1">
              <a:off x="-1782691" y="240179"/>
              <a:ext cx="2349849"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accent6"/>
            </a:solidFill>
            <a:ln w="12700"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0C842388-7877-49D2-B401-D6C1377BF4FF}"/>
                </a:ext>
              </a:extLst>
            </p:cNvPr>
            <p:cNvSpPr/>
            <p:nvPr/>
          </p:nvSpPr>
          <p:spPr>
            <a:xfrm flipH="1">
              <a:off x="327475" y="1888637"/>
              <a:ext cx="3874922"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70396195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30804"/>
            <a:ext cx="10752137"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80429050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3FF853F-1700-4061-8D05-4C80124D5391}"/>
              </a:ext>
            </a:extLst>
          </p:cNvPr>
          <p:cNvSpPr/>
          <p:nvPr/>
        </p:nvSpPr>
        <p:spPr>
          <a:xfrm>
            <a:off x="0" y="-1"/>
            <a:ext cx="12192000" cy="6857357"/>
          </a:xfrm>
          <a:custGeom>
            <a:avLst/>
            <a:gdLst>
              <a:gd name="connsiteX0" fmla="*/ 0 w 1280120"/>
              <a:gd name="connsiteY0" fmla="*/ 0 h 720000"/>
              <a:gd name="connsiteX1" fmla="*/ 1280120 w 1280120"/>
              <a:gd name="connsiteY1" fmla="*/ 0 h 720000"/>
              <a:gd name="connsiteX2" fmla="*/ 1280120 w 1280120"/>
              <a:gd name="connsiteY2" fmla="*/ 720000 h 720000"/>
              <a:gd name="connsiteX3" fmla="*/ 0 w 1280120"/>
              <a:gd name="connsiteY3" fmla="*/ 720000 h 720000"/>
            </a:gdLst>
            <a:ahLst/>
            <a:cxnLst>
              <a:cxn ang="0">
                <a:pos x="connsiteX0" y="connsiteY0"/>
              </a:cxn>
              <a:cxn ang="0">
                <a:pos x="connsiteX1" y="connsiteY1"/>
              </a:cxn>
              <a:cxn ang="0">
                <a:pos x="connsiteX2" y="connsiteY2"/>
              </a:cxn>
              <a:cxn ang="0">
                <a:pos x="connsiteX3" y="connsiteY3"/>
              </a:cxn>
            </a:cxnLst>
            <a:rect l="l" t="t" r="r" b="b"/>
            <a:pathLst>
              <a:path w="1280120" h="720000">
                <a:moveTo>
                  <a:pt x="0" y="0"/>
                </a:moveTo>
                <a:lnTo>
                  <a:pt x="1280120" y="0"/>
                </a:lnTo>
                <a:lnTo>
                  <a:pt x="1280120" y="720000"/>
                </a:lnTo>
                <a:lnTo>
                  <a:pt x="0" y="720000"/>
                </a:lnTo>
                <a:close/>
              </a:path>
            </a:pathLst>
          </a:custGeom>
          <a:noFill/>
          <a:ln w="1330" cap="flat">
            <a:noFill/>
            <a:prstDash val="solid"/>
            <a:miter/>
          </a:ln>
        </p:spPr>
        <p:txBody>
          <a:bodyPr rtlCol="0" anchor="ctr"/>
          <a:lstStyle/>
          <a:p>
            <a:endParaRPr lang="en-GB"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719137" y="2128838"/>
            <a:ext cx="10752137"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719137" y="666745"/>
            <a:ext cx="9110663" cy="720000"/>
          </a:xfrm>
        </p:spPr>
        <p:txBody>
          <a:body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7EF30BA1-DAC8-4EBD-95C0-F7481F97E29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4938F81-27E5-4205-B28F-059205C194F7}"/>
              </a:ext>
            </a:extLst>
          </p:cNvPr>
          <p:cNvSpPr/>
          <p:nvPr userDrawn="1"/>
        </p:nvSpPr>
        <p:spPr>
          <a:xfrm>
            <a:off x="1" y="-1"/>
            <a:ext cx="12193208" cy="6858001"/>
          </a:xfrm>
          <a:custGeom>
            <a:avLst/>
            <a:gdLst>
              <a:gd name="connsiteX0" fmla="*/ 0 w 12193208"/>
              <a:gd name="connsiteY0" fmla="*/ 0 h 6858001"/>
              <a:gd name="connsiteX1" fmla="*/ 12193208 w 12193208"/>
              <a:gd name="connsiteY1" fmla="*/ 0 h 6858001"/>
              <a:gd name="connsiteX2" fmla="*/ 12193208 w 12193208"/>
              <a:gd name="connsiteY2" fmla="*/ 6858001 h 6858001"/>
              <a:gd name="connsiteX3" fmla="*/ 0 w 1219320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208" h="6858001">
                <a:moveTo>
                  <a:pt x="0" y="0"/>
                </a:moveTo>
                <a:lnTo>
                  <a:pt x="12193208" y="0"/>
                </a:lnTo>
                <a:lnTo>
                  <a:pt x="12193208"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23376049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84091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grpSp>
        <p:nvGrpSpPr>
          <p:cNvPr id="24" name="Group 23">
            <a:extLst>
              <a:ext uri="{FF2B5EF4-FFF2-40B4-BE49-F238E27FC236}">
                <a16:creationId xmlns:a16="http://schemas.microsoft.com/office/drawing/2014/main" id="{1F6D1870-CBAC-40FE-93C3-CEC6F8B5FC5C}"/>
              </a:ext>
            </a:extLst>
          </p:cNvPr>
          <p:cNvGrpSpPr/>
          <p:nvPr userDrawn="1"/>
        </p:nvGrpSpPr>
        <p:grpSpPr>
          <a:xfrm>
            <a:off x="10733882" y="0"/>
            <a:ext cx="1458118" cy="4629473"/>
            <a:chOff x="10733882" y="0"/>
            <a:chExt cx="1458118" cy="4629473"/>
          </a:xfrm>
        </p:grpSpPr>
        <p:sp>
          <p:nvSpPr>
            <p:cNvPr id="23" name="Freeform: Shape 22">
              <a:extLst>
                <a:ext uri="{FF2B5EF4-FFF2-40B4-BE49-F238E27FC236}">
                  <a16:creationId xmlns:a16="http://schemas.microsoft.com/office/drawing/2014/main" id="{7FA73F1C-0C77-460E-8713-00D68890376A}"/>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8F300F0-88EC-4B44-8816-B3D1834130B0}"/>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87878665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5228182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2736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2" name="Freeform: Shape 21">
            <a:extLst>
              <a:ext uri="{FF2B5EF4-FFF2-40B4-BE49-F238E27FC236}">
                <a16:creationId xmlns:a16="http://schemas.microsoft.com/office/drawing/2014/main" id="{2EED502E-C7AA-4CAB-8C16-D9B1E95B4C90}"/>
              </a:ext>
            </a:extLst>
          </p:cNvPr>
          <p:cNvSpPr/>
          <p:nvPr userDrawn="1"/>
        </p:nvSpPr>
        <p:spPr>
          <a:xfrm>
            <a:off x="10849636" y="4991211"/>
            <a:ext cx="1342365" cy="795586"/>
          </a:xfrm>
          <a:custGeom>
            <a:avLst/>
            <a:gdLst>
              <a:gd name="connsiteX0" fmla="*/ 1342365 w 1342365"/>
              <a:gd name="connsiteY0" fmla="*/ 0 h 795586"/>
              <a:gd name="connsiteX1" fmla="*/ 1342365 w 1342365"/>
              <a:gd name="connsiteY1" fmla="*/ 310659 h 795586"/>
              <a:gd name="connsiteX2" fmla="*/ 1175229 w 1342365"/>
              <a:gd name="connsiteY2" fmla="*/ 404301 h 795586"/>
              <a:gd name="connsiteX3" fmla="*/ 166319 w 1342365"/>
              <a:gd name="connsiteY3" fmla="*/ 791416 h 795586"/>
              <a:gd name="connsiteX4" fmla="*/ 133252 w 1342365"/>
              <a:gd name="connsiteY4" fmla="*/ 795586 h 795586"/>
              <a:gd name="connsiteX5" fmla="*/ 0 w 1342365"/>
              <a:gd name="connsiteY5" fmla="*/ 662105 h 795586"/>
              <a:gd name="connsiteX6" fmla="*/ 100375 w 1342365"/>
              <a:gd name="connsiteY6" fmla="*/ 532998 h 795586"/>
              <a:gd name="connsiteX7" fmla="*/ 1277902 w 1342365"/>
              <a:gd name="connsiteY7" fmla="*/ 41089 h 795586"/>
              <a:gd name="connsiteX8" fmla="*/ 1342365 w 1342365"/>
              <a:gd name="connsiteY8" fmla="*/ 0 h 79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365" h="795586">
                <a:moveTo>
                  <a:pt x="1342365" y="0"/>
                </a:moveTo>
                <a:lnTo>
                  <a:pt x="1342365" y="310659"/>
                </a:lnTo>
                <a:lnTo>
                  <a:pt x="1175229" y="404301"/>
                </a:lnTo>
                <a:cubicBezTo>
                  <a:pt x="853625" y="572605"/>
                  <a:pt x="516572" y="702036"/>
                  <a:pt x="166319" y="791416"/>
                </a:cubicBezTo>
                <a:cubicBezTo>
                  <a:pt x="155514" y="794180"/>
                  <a:pt x="144405" y="795581"/>
                  <a:pt x="133252" y="795586"/>
                </a:cubicBezTo>
                <a:cubicBezTo>
                  <a:pt x="59596" y="795522"/>
                  <a:pt x="-63" y="735761"/>
                  <a:pt x="0" y="662105"/>
                </a:cubicBezTo>
                <a:cubicBezTo>
                  <a:pt x="52" y="601198"/>
                  <a:pt x="41361" y="548065"/>
                  <a:pt x="100375" y="532998"/>
                </a:cubicBezTo>
                <a:cubicBezTo>
                  <a:pt x="513437" y="427588"/>
                  <a:pt x="907329" y="262895"/>
                  <a:pt x="1277902" y="41089"/>
                </a:cubicBezTo>
                <a:lnTo>
                  <a:pt x="1342365" y="0"/>
                </a:lnTo>
                <a:close/>
              </a:path>
            </a:pathLst>
          </a:custGeom>
          <a:solidFill>
            <a:srgbClr val="005C8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347DFF4-3BA3-4254-8FCD-6F3D10FE181D}"/>
              </a:ext>
            </a:extLst>
          </p:cNvPr>
          <p:cNvSpPr/>
          <p:nvPr userDrawn="1"/>
        </p:nvSpPr>
        <p:spPr>
          <a:xfrm>
            <a:off x="6242805" y="4837629"/>
            <a:ext cx="4856836" cy="2019647"/>
          </a:xfrm>
          <a:custGeom>
            <a:avLst/>
            <a:gdLst>
              <a:gd name="connsiteX0" fmla="*/ 414366 w 4856836"/>
              <a:gd name="connsiteY0" fmla="*/ 2013 h 2019647"/>
              <a:gd name="connsiteX1" fmla="*/ 506569 w 4856836"/>
              <a:gd name="connsiteY1" fmla="*/ 19315 h 2019647"/>
              <a:gd name="connsiteX2" fmla="*/ 1793206 w 4856836"/>
              <a:gd name="connsiteY2" fmla="*/ 563337 h 2019647"/>
              <a:gd name="connsiteX3" fmla="*/ 4690854 w 4856836"/>
              <a:gd name="connsiteY3" fmla="*/ 694325 h 2019647"/>
              <a:gd name="connsiteX4" fmla="*/ 4852759 w 4856836"/>
              <a:gd name="connsiteY4" fmla="*/ 791034 h 2019647"/>
              <a:gd name="connsiteX5" fmla="*/ 4756049 w 4856836"/>
              <a:gd name="connsiteY5" fmla="*/ 952939 h 2019647"/>
              <a:gd name="connsiteX6" fmla="*/ 3105915 w 4856836"/>
              <a:gd name="connsiteY6" fmla="*/ 1085146 h 2019647"/>
              <a:gd name="connsiteX7" fmla="*/ 1707916 w 4856836"/>
              <a:gd name="connsiteY7" fmla="*/ 816157 h 2019647"/>
              <a:gd name="connsiteX8" fmla="*/ 605961 w 4856836"/>
              <a:gd name="connsiteY8" fmla="*/ 376370 h 2019647"/>
              <a:gd name="connsiteX9" fmla="*/ 398316 w 4856836"/>
              <a:gd name="connsiteY9" fmla="*/ 1833149 h 2019647"/>
              <a:gd name="connsiteX10" fmla="*/ 316644 w 4856836"/>
              <a:gd name="connsiteY10" fmla="*/ 2001258 h 2019647"/>
              <a:gd name="connsiteX11" fmla="*/ 305914 w 4856836"/>
              <a:gd name="connsiteY11" fmla="*/ 2019647 h 2019647"/>
              <a:gd name="connsiteX12" fmla="*/ 0 w 4856836"/>
              <a:gd name="connsiteY12" fmla="*/ 2019647 h 2019647"/>
              <a:gd name="connsiteX13" fmla="*/ 34107 w 4856836"/>
              <a:gd name="connsiteY13" fmla="*/ 1967301 h 2019647"/>
              <a:gd name="connsiteX14" fmla="*/ 306107 w 4856836"/>
              <a:gd name="connsiteY14" fmla="*/ 156429 h 2019647"/>
              <a:gd name="connsiteX15" fmla="*/ 414366 w 4856836"/>
              <a:gd name="connsiteY15" fmla="*/ 2013 h 20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6836" h="2019647">
                <a:moveTo>
                  <a:pt x="414366" y="2013"/>
                </a:moveTo>
                <a:cubicBezTo>
                  <a:pt x="446182" y="-3578"/>
                  <a:pt x="478945" y="2570"/>
                  <a:pt x="506569" y="19315"/>
                </a:cubicBezTo>
                <a:cubicBezTo>
                  <a:pt x="511580" y="22341"/>
                  <a:pt x="1022667" y="328729"/>
                  <a:pt x="1793206" y="563337"/>
                </a:cubicBezTo>
                <a:cubicBezTo>
                  <a:pt x="2499326" y="778333"/>
                  <a:pt x="3575224" y="975573"/>
                  <a:pt x="4690854" y="694325"/>
                </a:cubicBezTo>
                <a:cubicBezTo>
                  <a:pt x="4762268" y="676322"/>
                  <a:pt x="4834755" y="719620"/>
                  <a:pt x="4852759" y="791034"/>
                </a:cubicBezTo>
                <a:cubicBezTo>
                  <a:pt x="4870763" y="862449"/>
                  <a:pt x="4827464" y="934936"/>
                  <a:pt x="4756049" y="952939"/>
                </a:cubicBezTo>
                <a:cubicBezTo>
                  <a:pt x="4235065" y="1084273"/>
                  <a:pt x="3679881" y="1128760"/>
                  <a:pt x="3105915" y="1085146"/>
                </a:cubicBezTo>
                <a:cubicBezTo>
                  <a:pt x="2631446" y="1047130"/>
                  <a:pt x="2162615" y="956922"/>
                  <a:pt x="1707916" y="816157"/>
                </a:cubicBezTo>
                <a:cubicBezTo>
                  <a:pt x="1328864" y="700870"/>
                  <a:pt x="960233" y="553751"/>
                  <a:pt x="605961" y="376370"/>
                </a:cubicBezTo>
                <a:cubicBezTo>
                  <a:pt x="660472" y="906557"/>
                  <a:pt x="590920" y="1395545"/>
                  <a:pt x="398316" y="1833149"/>
                </a:cubicBezTo>
                <a:cubicBezTo>
                  <a:pt x="373170" y="1890349"/>
                  <a:pt x="345917" y="1946419"/>
                  <a:pt x="316644" y="2001258"/>
                </a:cubicBezTo>
                <a:lnTo>
                  <a:pt x="305914" y="2019647"/>
                </a:lnTo>
                <a:lnTo>
                  <a:pt x="0" y="2019647"/>
                </a:lnTo>
                <a:lnTo>
                  <a:pt x="34107" y="1967301"/>
                </a:lnTo>
                <a:cubicBezTo>
                  <a:pt x="329331" y="1471210"/>
                  <a:pt x="427687" y="848162"/>
                  <a:pt x="306107" y="156429"/>
                </a:cubicBezTo>
                <a:cubicBezTo>
                  <a:pt x="293361" y="83893"/>
                  <a:pt x="341830" y="14759"/>
                  <a:pt x="414366" y="2013"/>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535759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455454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020301" cy="720000"/>
          </a:xfrm>
        </p:spPr>
        <p:txBody>
          <a:body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4ED4FA2E-BB61-419C-9C40-ADC558A0472A}"/>
              </a:ext>
            </a:extLst>
          </p:cNvPr>
          <p:cNvGrpSpPr/>
          <p:nvPr userDrawn="1"/>
        </p:nvGrpSpPr>
        <p:grpSpPr>
          <a:xfrm>
            <a:off x="10733882" y="0"/>
            <a:ext cx="1458118" cy="4629473"/>
            <a:chOff x="10733882" y="0"/>
            <a:chExt cx="1458118" cy="4629473"/>
          </a:xfrm>
        </p:grpSpPr>
        <p:sp>
          <p:nvSpPr>
            <p:cNvPr id="20" name="Freeform: Shape 19">
              <a:extLst>
                <a:ext uri="{FF2B5EF4-FFF2-40B4-BE49-F238E27FC236}">
                  <a16:creationId xmlns:a16="http://schemas.microsoft.com/office/drawing/2014/main" id="{3E5198A0-3E34-4A3C-BF63-5B0BE0A7CDD5}"/>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A421163C-FF91-4CA0-9AA0-81D8F30EC95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73912678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5273675"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1" name="Freeform: Shape 10">
            <a:extLst>
              <a:ext uri="{FF2B5EF4-FFF2-40B4-BE49-F238E27FC236}">
                <a16:creationId xmlns:a16="http://schemas.microsoft.com/office/drawing/2014/main" id="{91F8207E-FBEF-454B-A804-A68BB4023C31}"/>
              </a:ext>
            </a:extLst>
          </p:cNvPr>
          <p:cNvSpPr/>
          <p:nvPr/>
        </p:nvSpPr>
        <p:spPr>
          <a:xfrm>
            <a:off x="2" y="-1"/>
            <a:ext cx="12193204" cy="6857999"/>
          </a:xfrm>
          <a:custGeom>
            <a:avLst/>
            <a:gdLst>
              <a:gd name="connsiteX0" fmla="*/ 0 w 12193204"/>
              <a:gd name="connsiteY0" fmla="*/ 0 h 6857999"/>
              <a:gd name="connsiteX1" fmla="*/ 12193204 w 12193204"/>
              <a:gd name="connsiteY1" fmla="*/ 0 h 6857999"/>
              <a:gd name="connsiteX2" fmla="*/ 12193204 w 12193204"/>
              <a:gd name="connsiteY2" fmla="*/ 6857999 h 6857999"/>
              <a:gd name="connsiteX3" fmla="*/ 0 w 1219320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204" h="6857999">
                <a:moveTo>
                  <a:pt x="0" y="0"/>
                </a:moveTo>
                <a:lnTo>
                  <a:pt x="12193204" y="0"/>
                </a:lnTo>
                <a:lnTo>
                  <a:pt x="12193204" y="6857999"/>
                </a:lnTo>
                <a:lnTo>
                  <a:pt x="0" y="6857999"/>
                </a:lnTo>
                <a:close/>
              </a:path>
            </a:pathLst>
          </a:custGeom>
          <a:noFill/>
          <a:ln w="1269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7397474-9EF1-4786-9F3A-D567C56BA18F}"/>
              </a:ext>
            </a:extLst>
          </p:cNvPr>
          <p:cNvSpPr/>
          <p:nvPr/>
        </p:nvSpPr>
        <p:spPr>
          <a:xfrm>
            <a:off x="8756757" y="-736501"/>
            <a:ext cx="82489" cy="51643"/>
          </a:xfrm>
          <a:custGeom>
            <a:avLst/>
            <a:gdLst>
              <a:gd name="connsiteX0" fmla="*/ 82489 w 82489"/>
              <a:gd name="connsiteY0" fmla="*/ 0 h 51643"/>
              <a:gd name="connsiteX1" fmla="*/ 0 w 82489"/>
              <a:gd name="connsiteY1" fmla="*/ 51643 h 51643"/>
              <a:gd name="connsiteX2" fmla="*/ 82489 w 82489"/>
              <a:gd name="connsiteY2" fmla="*/ 0 h 51643"/>
            </a:gdLst>
            <a:ahLst/>
            <a:cxnLst>
              <a:cxn ang="0">
                <a:pos x="connsiteX0" y="connsiteY0"/>
              </a:cxn>
              <a:cxn ang="0">
                <a:pos x="connsiteX1" y="connsiteY1"/>
              </a:cxn>
              <a:cxn ang="0">
                <a:pos x="connsiteX2" y="connsiteY2"/>
              </a:cxn>
            </a:cxnLst>
            <a:rect l="l" t="t" r="r" b="b"/>
            <a:pathLst>
              <a:path w="82489" h="51643">
                <a:moveTo>
                  <a:pt x="82489" y="0"/>
                </a:moveTo>
                <a:cubicBezTo>
                  <a:pt x="49468" y="6207"/>
                  <a:pt x="20008" y="24651"/>
                  <a:pt x="0" y="51643"/>
                </a:cubicBezTo>
                <a:cubicBezTo>
                  <a:pt x="19980" y="24621"/>
                  <a:pt x="49453" y="6169"/>
                  <a:pt x="82489" y="0"/>
                </a:cubicBezTo>
                <a:close/>
              </a:path>
            </a:pathLst>
          </a:custGeom>
          <a:solidFill>
            <a:schemeClr val="accent3"/>
          </a:solidFill>
          <a:ln w="1269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6AB145D-04C3-4FAE-BE8F-88061D87C676}"/>
              </a:ext>
            </a:extLst>
          </p:cNvPr>
          <p:cNvSpPr/>
          <p:nvPr/>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3088278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11420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51695646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808486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19035664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1627188"/>
            <a:ext cx="10752137" cy="45100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6197517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6972261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005513" y="719138"/>
            <a:ext cx="5465761" cy="5418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1"/>
            <a:ext cx="4546330" cy="363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900"/>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1" name="Freeform: Shape 10">
            <a:extLst>
              <a:ext uri="{FF2B5EF4-FFF2-40B4-BE49-F238E27FC236}">
                <a16:creationId xmlns:a16="http://schemas.microsoft.com/office/drawing/2014/main" id="{CBAB1041-563D-407D-B771-F7CA3C6ADD0E}"/>
              </a:ext>
            </a:extLst>
          </p:cNvPr>
          <p:cNvSpPr/>
          <p:nvPr/>
        </p:nvSpPr>
        <p:spPr>
          <a:xfrm>
            <a:off x="-1" y="-1590"/>
            <a:ext cx="12196027" cy="6859587"/>
          </a:xfrm>
          <a:custGeom>
            <a:avLst/>
            <a:gdLst>
              <a:gd name="connsiteX0" fmla="*/ 0 w 12196027"/>
              <a:gd name="connsiteY0" fmla="*/ 0 h 6859587"/>
              <a:gd name="connsiteX1" fmla="*/ 12196027 w 12196027"/>
              <a:gd name="connsiteY1" fmla="*/ 0 h 6859587"/>
              <a:gd name="connsiteX2" fmla="*/ 12196027 w 12196027"/>
              <a:gd name="connsiteY2" fmla="*/ 6859587 h 6859587"/>
              <a:gd name="connsiteX3" fmla="*/ 0 w 12196027"/>
              <a:gd name="connsiteY3" fmla="*/ 6859587 h 6859587"/>
            </a:gdLst>
            <a:ahLst/>
            <a:cxnLst>
              <a:cxn ang="0">
                <a:pos x="connsiteX0" y="connsiteY0"/>
              </a:cxn>
              <a:cxn ang="0">
                <a:pos x="connsiteX1" y="connsiteY1"/>
              </a:cxn>
              <a:cxn ang="0">
                <a:pos x="connsiteX2" y="connsiteY2"/>
              </a:cxn>
              <a:cxn ang="0">
                <a:pos x="connsiteX3" y="connsiteY3"/>
              </a:cxn>
            </a:cxnLst>
            <a:rect l="l" t="t" r="r" b="b"/>
            <a:pathLst>
              <a:path w="12196027" h="6859587">
                <a:moveTo>
                  <a:pt x="0" y="0"/>
                </a:moveTo>
                <a:lnTo>
                  <a:pt x="12196027" y="0"/>
                </a:lnTo>
                <a:lnTo>
                  <a:pt x="12196027" y="6859587"/>
                </a:lnTo>
                <a:lnTo>
                  <a:pt x="0" y="6859587"/>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065A25C6-22C3-4470-8B3F-33557246929E}"/>
              </a:ext>
            </a:extLst>
          </p:cNvPr>
          <p:cNvSpPr/>
          <p:nvPr/>
        </p:nvSpPr>
        <p:spPr>
          <a:xfrm>
            <a:off x="5503374" y="1946274"/>
            <a:ext cx="266762" cy="4911726"/>
          </a:xfrm>
          <a:custGeom>
            <a:avLst/>
            <a:gdLst>
              <a:gd name="connsiteX0" fmla="*/ 133381 w 266762"/>
              <a:gd name="connsiteY0" fmla="*/ 0 h 4911726"/>
              <a:gd name="connsiteX1" fmla="*/ 266762 w 266762"/>
              <a:gd name="connsiteY1" fmla="*/ 133381 h 4911726"/>
              <a:gd name="connsiteX2" fmla="*/ 266762 w 266762"/>
              <a:gd name="connsiteY2" fmla="*/ 4911726 h 4911726"/>
              <a:gd name="connsiteX3" fmla="*/ 0 w 266762"/>
              <a:gd name="connsiteY3" fmla="*/ 4911726 h 4911726"/>
              <a:gd name="connsiteX4" fmla="*/ 0 w 266762"/>
              <a:gd name="connsiteY4" fmla="*/ 133381 h 4911726"/>
              <a:gd name="connsiteX5" fmla="*/ 133381 w 266762"/>
              <a:gd name="connsiteY5" fmla="*/ 0 h 491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62" h="4911726">
                <a:moveTo>
                  <a:pt x="133381" y="0"/>
                </a:moveTo>
                <a:cubicBezTo>
                  <a:pt x="207045" y="0"/>
                  <a:pt x="266762" y="59717"/>
                  <a:pt x="266762" y="133381"/>
                </a:cubicBezTo>
                <a:lnTo>
                  <a:pt x="266762" y="4911726"/>
                </a:lnTo>
                <a:lnTo>
                  <a:pt x="0" y="4911726"/>
                </a:lnTo>
                <a:lnTo>
                  <a:pt x="0" y="133381"/>
                </a:lnTo>
                <a:cubicBezTo>
                  <a:pt x="0" y="59717"/>
                  <a:pt x="59717" y="0"/>
                  <a:pt x="133381" y="0"/>
                </a:cubicBezTo>
                <a:close/>
              </a:path>
            </a:pathLst>
          </a:custGeom>
          <a:solidFill>
            <a:srgbClr val="85ABE3"/>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A1E9E8E-09DB-4256-9756-C65C9D868554}"/>
              </a:ext>
            </a:extLst>
          </p:cNvPr>
          <p:cNvSpPr/>
          <p:nvPr/>
        </p:nvSpPr>
        <p:spPr>
          <a:xfrm>
            <a:off x="3724953" y="-1593"/>
            <a:ext cx="2045184" cy="3189946"/>
          </a:xfrm>
          <a:custGeom>
            <a:avLst/>
            <a:gdLst>
              <a:gd name="connsiteX0" fmla="*/ 0 w 2045184"/>
              <a:gd name="connsiteY0" fmla="*/ 0 h 3189946"/>
              <a:gd name="connsiteX1" fmla="*/ 445556 w 2045184"/>
              <a:gd name="connsiteY1" fmla="*/ 0 h 3189946"/>
              <a:gd name="connsiteX2" fmla="*/ 594954 w 2045184"/>
              <a:gd name="connsiteY2" fmla="*/ 99642 h 3189946"/>
              <a:gd name="connsiteX3" fmla="*/ 1136304 w 2045184"/>
              <a:gd name="connsiteY3" fmla="*/ 381519 h 3189946"/>
              <a:gd name="connsiteX4" fmla="*/ 1916778 w 2045184"/>
              <a:gd name="connsiteY4" fmla="*/ 599585 h 3189946"/>
              <a:gd name="connsiteX5" fmla="*/ 2040123 w 2045184"/>
              <a:gd name="connsiteY5" fmla="*/ 732299 h 3189946"/>
              <a:gd name="connsiteX6" fmla="*/ 2045184 w 2045184"/>
              <a:gd name="connsiteY6" fmla="*/ 3056273 h 3189946"/>
              <a:gd name="connsiteX7" fmla="*/ 1912096 w 2045184"/>
              <a:gd name="connsiteY7" fmla="*/ 3189946 h 3189946"/>
              <a:gd name="connsiteX8" fmla="*/ 1912089 w 2045184"/>
              <a:gd name="connsiteY8" fmla="*/ 3189946 h 3189946"/>
              <a:gd name="connsiteX9" fmla="*/ 1911803 w 2045184"/>
              <a:gd name="connsiteY9" fmla="*/ 3189939 h 3189946"/>
              <a:gd name="connsiteX10" fmla="*/ 1778422 w 2045184"/>
              <a:gd name="connsiteY10" fmla="*/ 3056850 h 3189946"/>
              <a:gd name="connsiteX11" fmla="*/ 1773609 w 2045184"/>
              <a:gd name="connsiteY11" fmla="*/ 849325 h 3189946"/>
              <a:gd name="connsiteX12" fmla="*/ 1045038 w 2045184"/>
              <a:gd name="connsiteY12" fmla="*/ 632507 h 3189946"/>
              <a:gd name="connsiteX13" fmla="*/ 18044 w 2045184"/>
              <a:gd name="connsiteY13" fmla="*/ 15567 h 3189946"/>
              <a:gd name="connsiteX14" fmla="*/ 0 w 2045184"/>
              <a:gd name="connsiteY14" fmla="*/ 0 h 318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5184" h="3189946">
                <a:moveTo>
                  <a:pt x="0" y="0"/>
                </a:moveTo>
                <a:lnTo>
                  <a:pt x="445556" y="0"/>
                </a:lnTo>
                <a:lnTo>
                  <a:pt x="594954" y="99642"/>
                </a:lnTo>
                <a:cubicBezTo>
                  <a:pt x="794804" y="224433"/>
                  <a:pt x="979607" y="315591"/>
                  <a:pt x="1136304" y="381519"/>
                </a:cubicBezTo>
                <a:cubicBezTo>
                  <a:pt x="1590148" y="572458"/>
                  <a:pt x="1913565" y="599331"/>
                  <a:pt x="1916778" y="599585"/>
                </a:cubicBezTo>
                <a:cubicBezTo>
                  <a:pt x="1986184" y="604945"/>
                  <a:pt x="2039850" y="662687"/>
                  <a:pt x="2040123" y="732299"/>
                </a:cubicBezTo>
                <a:lnTo>
                  <a:pt x="2045184" y="3056273"/>
                </a:lnTo>
                <a:cubicBezTo>
                  <a:pt x="2045346" y="3129937"/>
                  <a:pt x="1985760" y="3189784"/>
                  <a:pt x="1912096" y="3189946"/>
                </a:cubicBezTo>
                <a:cubicBezTo>
                  <a:pt x="1912093" y="3189946"/>
                  <a:pt x="1912091" y="3189946"/>
                  <a:pt x="1912089" y="3189946"/>
                </a:cubicBezTo>
                <a:lnTo>
                  <a:pt x="1911803" y="3189939"/>
                </a:lnTo>
                <a:cubicBezTo>
                  <a:pt x="1838252" y="3189940"/>
                  <a:pt x="1778583" y="3130400"/>
                  <a:pt x="1778422" y="3056850"/>
                </a:cubicBezTo>
                <a:lnTo>
                  <a:pt x="1773609" y="849325"/>
                </a:lnTo>
                <a:cubicBezTo>
                  <a:pt x="1629212" y="825210"/>
                  <a:pt x="1368505" y="767321"/>
                  <a:pt x="1045038" y="632507"/>
                </a:cubicBezTo>
                <a:cubicBezTo>
                  <a:pt x="764448" y="515561"/>
                  <a:pt x="400282" y="323826"/>
                  <a:pt x="18044" y="15567"/>
                </a:cubicBezTo>
                <a:lnTo>
                  <a:pt x="0" y="0"/>
                </a:lnTo>
                <a:close/>
              </a:path>
            </a:pathLst>
          </a:custGeom>
          <a:solidFill>
            <a:srgbClr val="FFE84C"/>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72559194"/>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Large Righ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916738" y="1565276"/>
            <a:ext cx="4554536"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0"/>
            <a:ext cx="4375150" cy="3115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639"/>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7E4CF89B-9153-40B6-9DAC-F7296DD392CE}"/>
              </a:ext>
            </a:extLst>
          </p:cNvPr>
          <p:cNvSpPr/>
          <p:nvPr/>
        </p:nvSpPr>
        <p:spPr>
          <a:xfrm>
            <a:off x="0" y="0"/>
            <a:ext cx="12193193" cy="6858000"/>
          </a:xfrm>
          <a:custGeom>
            <a:avLst/>
            <a:gdLst>
              <a:gd name="connsiteX0" fmla="*/ 0 w 12193193"/>
              <a:gd name="connsiteY0" fmla="*/ 0 h 6858000"/>
              <a:gd name="connsiteX1" fmla="*/ 12193194 w 12193193"/>
              <a:gd name="connsiteY1" fmla="*/ 0 h 6858000"/>
              <a:gd name="connsiteX2" fmla="*/ 12193194 w 12193193"/>
              <a:gd name="connsiteY2" fmla="*/ 6858000 h 6858000"/>
              <a:gd name="connsiteX3" fmla="*/ 0 w 121931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93" h="6858000">
                <a:moveTo>
                  <a:pt x="0" y="0"/>
                </a:moveTo>
                <a:lnTo>
                  <a:pt x="12193194" y="0"/>
                </a:lnTo>
                <a:lnTo>
                  <a:pt x="12193194"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01CB456-3579-41C9-8C06-ADC94B9FDA88}"/>
              </a:ext>
            </a:extLst>
          </p:cNvPr>
          <p:cNvSpPr/>
          <p:nvPr userDrawn="1"/>
        </p:nvSpPr>
        <p:spPr>
          <a:xfrm>
            <a:off x="5817635" y="0"/>
            <a:ext cx="1821487" cy="2234280"/>
          </a:xfrm>
          <a:custGeom>
            <a:avLst/>
            <a:gdLst>
              <a:gd name="connsiteX0" fmla="*/ 1437237 w 1821487"/>
              <a:gd name="connsiteY0" fmla="*/ 0 h 2234280"/>
              <a:gd name="connsiteX1" fmla="*/ 1821487 w 1821487"/>
              <a:gd name="connsiteY1" fmla="*/ 0 h 2234280"/>
              <a:gd name="connsiteX2" fmla="*/ 1796412 w 1821487"/>
              <a:gd name="connsiteY2" fmla="*/ 22870 h 2234280"/>
              <a:gd name="connsiteX3" fmla="*/ 255291 w 1821487"/>
              <a:gd name="connsiteY3" fmla="*/ 2154810 h 2234280"/>
              <a:gd name="connsiteX4" fmla="*/ 133253 w 1821487"/>
              <a:gd name="connsiteY4" fmla="*/ 2234280 h 2234280"/>
              <a:gd name="connsiteX5" fmla="*/ 0 w 1821487"/>
              <a:gd name="connsiteY5" fmla="*/ 2100688 h 2234280"/>
              <a:gd name="connsiteX6" fmla="*/ 11362 w 1821487"/>
              <a:gd name="connsiteY6" fmla="*/ 2046980 h 2234280"/>
              <a:gd name="connsiteX7" fmla="*/ 983011 w 1821487"/>
              <a:gd name="connsiteY7" fmla="*/ 493676 h 2234280"/>
              <a:gd name="connsiteX8" fmla="*/ 1347027 w 1821487"/>
              <a:gd name="connsiteY8" fmla="*/ 89809 h 2234280"/>
              <a:gd name="connsiteX9" fmla="*/ 1437237 w 1821487"/>
              <a:gd name="connsiteY9" fmla="*/ 0 h 22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487" h="2234280">
                <a:moveTo>
                  <a:pt x="1437237" y="0"/>
                </a:moveTo>
                <a:lnTo>
                  <a:pt x="1821487" y="0"/>
                </a:lnTo>
                <a:lnTo>
                  <a:pt x="1796412" y="22870"/>
                </a:lnTo>
                <a:cubicBezTo>
                  <a:pt x="1114823" y="664757"/>
                  <a:pt x="598513" y="1378402"/>
                  <a:pt x="255291" y="2154810"/>
                </a:cubicBezTo>
                <a:cubicBezTo>
                  <a:pt x="233937" y="2203128"/>
                  <a:pt x="186080" y="2234292"/>
                  <a:pt x="133253" y="2234280"/>
                </a:cubicBezTo>
                <a:cubicBezTo>
                  <a:pt x="59566" y="2234186"/>
                  <a:pt x="-93" y="2174375"/>
                  <a:pt x="0" y="2100688"/>
                </a:cubicBezTo>
                <a:cubicBezTo>
                  <a:pt x="24" y="2082191"/>
                  <a:pt x="3893" y="2063902"/>
                  <a:pt x="11362" y="2046980"/>
                </a:cubicBezTo>
                <a:cubicBezTo>
                  <a:pt x="261126" y="1486382"/>
                  <a:pt x="588187" y="963534"/>
                  <a:pt x="983011" y="493676"/>
                </a:cubicBezTo>
                <a:cubicBezTo>
                  <a:pt x="1097446" y="356700"/>
                  <a:pt x="1218867" y="222004"/>
                  <a:pt x="1347027" y="89809"/>
                </a:cubicBezTo>
                <a:lnTo>
                  <a:pt x="1437237" y="0"/>
                </a:lnTo>
                <a:close/>
              </a:path>
            </a:pathLst>
          </a:custGeom>
          <a:solidFill>
            <a:srgbClr val="FFA169"/>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616F8CF-6A9D-4874-8D05-BB69A9E2BF71}"/>
              </a:ext>
            </a:extLst>
          </p:cNvPr>
          <p:cNvSpPr/>
          <p:nvPr/>
        </p:nvSpPr>
        <p:spPr>
          <a:xfrm>
            <a:off x="-3" y="1966905"/>
            <a:ext cx="6084624" cy="4134902"/>
          </a:xfrm>
          <a:custGeom>
            <a:avLst/>
            <a:gdLst>
              <a:gd name="connsiteX0" fmla="*/ 5952774 w 6084624"/>
              <a:gd name="connsiteY0" fmla="*/ 8 h 4134902"/>
              <a:gd name="connsiteX1" fmla="*/ 6004542 w 6084624"/>
              <a:gd name="connsiteY1" fmla="*/ 11149 h 4134902"/>
              <a:gd name="connsiteX2" fmla="*/ 6073475 w 6084624"/>
              <a:gd name="connsiteY2" fmla="*/ 186685 h 4134902"/>
              <a:gd name="connsiteX3" fmla="*/ 6072936 w 6084624"/>
              <a:gd name="connsiteY3" fmla="*/ 187906 h 4134902"/>
              <a:gd name="connsiteX4" fmla="*/ 5490882 w 6084624"/>
              <a:gd name="connsiteY4" fmla="*/ 3323469 h 4134902"/>
              <a:gd name="connsiteX5" fmla="*/ 5453886 w 6084624"/>
              <a:gd name="connsiteY5" fmla="*/ 4018214 h 4134902"/>
              <a:gd name="connsiteX6" fmla="*/ 5321583 w 6084624"/>
              <a:gd name="connsiteY6" fmla="*/ 4134902 h 4134902"/>
              <a:gd name="connsiteX7" fmla="*/ 0 w 6084624"/>
              <a:gd name="connsiteY7" fmla="*/ 4134902 h 4134902"/>
              <a:gd name="connsiteX8" fmla="*/ 0 w 6084624"/>
              <a:gd name="connsiteY8" fmla="*/ 3868202 h 4134902"/>
              <a:gd name="connsiteX9" fmla="*/ 5201206 w 6084624"/>
              <a:gd name="connsiteY9" fmla="*/ 3868202 h 4134902"/>
              <a:gd name="connsiteX10" fmla="*/ 5224268 w 6084624"/>
              <a:gd name="connsiteY10" fmla="*/ 3316604 h 4134902"/>
              <a:gd name="connsiteX11" fmla="*/ 5829007 w 6084624"/>
              <a:gd name="connsiteY11" fmla="*/ 80083 h 4134902"/>
              <a:gd name="connsiteX12" fmla="*/ 5952774 w 6084624"/>
              <a:gd name="connsiteY12" fmla="*/ 8 h 413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4624" h="4134902">
                <a:moveTo>
                  <a:pt x="5952774" y="8"/>
                </a:moveTo>
                <a:cubicBezTo>
                  <a:pt x="5970096" y="199"/>
                  <a:pt x="5987665" y="3790"/>
                  <a:pt x="6004542" y="11149"/>
                </a:cubicBezTo>
                <a:cubicBezTo>
                  <a:pt x="6072050" y="40587"/>
                  <a:pt x="6102913" y="119177"/>
                  <a:pt x="6073475" y="186685"/>
                </a:cubicBezTo>
                <a:cubicBezTo>
                  <a:pt x="6073297" y="187093"/>
                  <a:pt x="6073118" y="187500"/>
                  <a:pt x="6072936" y="187906"/>
                </a:cubicBezTo>
                <a:cubicBezTo>
                  <a:pt x="5540646" y="1392040"/>
                  <a:pt x="5511879" y="2508362"/>
                  <a:pt x="5490882" y="3323469"/>
                </a:cubicBezTo>
                <a:cubicBezTo>
                  <a:pt x="5483904" y="3594042"/>
                  <a:pt x="5477890" y="3827721"/>
                  <a:pt x="5453886" y="4018214"/>
                </a:cubicBezTo>
                <a:cubicBezTo>
                  <a:pt x="5445489" y="4084891"/>
                  <a:pt x="5388787" y="4134901"/>
                  <a:pt x="5321583" y="4134902"/>
                </a:cubicBezTo>
                <a:lnTo>
                  <a:pt x="0" y="4134902"/>
                </a:lnTo>
                <a:lnTo>
                  <a:pt x="0" y="3868202"/>
                </a:lnTo>
                <a:lnTo>
                  <a:pt x="5201206" y="3868202"/>
                </a:lnTo>
                <a:cubicBezTo>
                  <a:pt x="5214092" y="3711647"/>
                  <a:pt x="5218886" y="3525414"/>
                  <a:pt x="5224268" y="3316604"/>
                </a:cubicBezTo>
                <a:cubicBezTo>
                  <a:pt x="5245842" y="2479251"/>
                  <a:pt x="5275391" y="1332453"/>
                  <a:pt x="5829007" y="80083"/>
                </a:cubicBezTo>
                <a:cubicBezTo>
                  <a:pt x="5851085" y="29452"/>
                  <a:pt x="5900811" y="-566"/>
                  <a:pt x="5952774" y="8"/>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231408927"/>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Quotation">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8" name="Text Quotation 1">
            <a:extLst>
              <a:ext uri="{FF2B5EF4-FFF2-40B4-BE49-F238E27FC236}">
                <a16:creationId xmlns:a16="http://schemas.microsoft.com/office/drawing/2014/main" id="{CF83A6C2-5484-4078-9A95-3943A67F863C}"/>
              </a:ext>
            </a:extLst>
          </p:cNvPr>
          <p:cNvSpPr>
            <a:spLocks noGrp="1"/>
          </p:cNvSpPr>
          <p:nvPr>
            <p:ph type="body" sz="quarter" idx="22" hasCustomPrompt="1"/>
          </p:nvPr>
        </p:nvSpPr>
        <p:spPr>
          <a:xfrm>
            <a:off x="8007350" y="3683303"/>
            <a:ext cx="3465512" cy="2453971"/>
          </a:xfrm>
        </p:spPr>
        <p:txBody>
          <a:bodyPr/>
          <a:lstStyle>
            <a:lvl1pPr marL="0" indent="0">
              <a:lnSpc>
                <a:spcPct val="90000"/>
              </a:lnSpc>
              <a:buFont typeface="Arial" panose="020B0604020202020204" pitchFamily="34" charset="0"/>
              <a:buNone/>
              <a:defRPr sz="2000" i="1">
                <a:solidFill>
                  <a:schemeClr val="accent1"/>
                </a:solidFill>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solidFill>
                  <a:schemeClr val="accent1"/>
                </a:solidFill>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21" name="Quote Icon">
            <a:extLst>
              <a:ext uri="{FF2B5EF4-FFF2-40B4-BE49-F238E27FC236}">
                <a16:creationId xmlns:a16="http://schemas.microsoft.com/office/drawing/2014/main" id="{83E37669-D60C-4BDC-89D8-76B20DB9CD69}"/>
              </a:ext>
            </a:extLst>
          </p:cNvPr>
          <p:cNvSpPr>
            <a:spLocks noGrp="1" noChangeAspect="1"/>
          </p:cNvSpPr>
          <p:nvPr>
            <p:ph type="body" sz="quarter" idx="23" hasCustomPrompt="1"/>
          </p:nvPr>
        </p:nvSpPr>
        <p:spPr>
          <a:xfrm>
            <a:off x="8007350" y="3084485"/>
            <a:ext cx="432000" cy="43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
        <p:nvSpPr>
          <p:cNvPr id="10" name="Freeform: Shape 9">
            <a:extLst>
              <a:ext uri="{FF2B5EF4-FFF2-40B4-BE49-F238E27FC236}">
                <a16:creationId xmlns:a16="http://schemas.microsoft.com/office/drawing/2014/main" id="{7C827E1D-DD48-44F3-B112-3D7A29CC8B57}"/>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325EB17-9B77-4BB7-B493-547AA259F275}"/>
              </a:ext>
            </a:extLst>
          </p:cNvPr>
          <p:cNvSpPr/>
          <p:nvPr/>
        </p:nvSpPr>
        <p:spPr>
          <a:xfrm>
            <a:off x="7972806" y="2590800"/>
            <a:ext cx="4219193" cy="266700"/>
          </a:xfrm>
          <a:custGeom>
            <a:avLst/>
            <a:gdLst>
              <a:gd name="connsiteX0" fmla="*/ 133350 w 4219193"/>
              <a:gd name="connsiteY0" fmla="*/ 0 h 266700"/>
              <a:gd name="connsiteX1" fmla="*/ 0 w 4219193"/>
              <a:gd name="connsiteY1" fmla="*/ 133350 h 266700"/>
              <a:gd name="connsiteX2" fmla="*/ 133350 w 4219193"/>
              <a:gd name="connsiteY2" fmla="*/ 266700 h 266700"/>
              <a:gd name="connsiteX3" fmla="*/ 4219194 w 4219193"/>
              <a:gd name="connsiteY3" fmla="*/ 266700 h 266700"/>
              <a:gd name="connsiteX4" fmla="*/ 4219194 w 4219193"/>
              <a:gd name="connsiteY4" fmla="*/ 0 h 266700"/>
              <a:gd name="connsiteX5" fmla="*/ 133350 w 4219193"/>
              <a:gd name="connsiteY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193" h="266700">
                <a:moveTo>
                  <a:pt x="133350" y="0"/>
                </a:moveTo>
                <a:cubicBezTo>
                  <a:pt x="59703" y="0"/>
                  <a:pt x="0" y="59703"/>
                  <a:pt x="0" y="133350"/>
                </a:cubicBezTo>
                <a:cubicBezTo>
                  <a:pt x="0" y="206997"/>
                  <a:pt x="59703" y="266700"/>
                  <a:pt x="133350" y="266700"/>
                </a:cubicBezTo>
                <a:lnTo>
                  <a:pt x="4219194" y="266700"/>
                </a:lnTo>
                <a:lnTo>
                  <a:pt x="4219194" y="0"/>
                </a:lnTo>
                <a:lnTo>
                  <a:pt x="133350" y="0"/>
                </a:lnTo>
                <a:close/>
              </a:path>
            </a:pathLst>
          </a:custGeom>
          <a:solidFill>
            <a:srgbClr val="FFE84C"/>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4D3F087-01E9-453B-8992-8328DC5AED5E}"/>
              </a:ext>
            </a:extLst>
          </p:cNvPr>
          <p:cNvSpPr/>
          <p:nvPr/>
        </p:nvSpPr>
        <p:spPr>
          <a:xfrm>
            <a:off x="6323203" y="2591054"/>
            <a:ext cx="1916303" cy="4266945"/>
          </a:xfrm>
          <a:custGeom>
            <a:avLst/>
            <a:gdLst>
              <a:gd name="connsiteX0" fmla="*/ 1044067 w 1916303"/>
              <a:gd name="connsiteY0" fmla="*/ 797179 h 4266945"/>
              <a:gd name="connsiteX1" fmla="*/ 1066165 w 1916303"/>
              <a:gd name="connsiteY1" fmla="*/ 266700 h 4266945"/>
              <a:gd name="connsiteX2" fmla="*/ 1782953 w 1916303"/>
              <a:gd name="connsiteY2" fmla="*/ 266700 h 4266945"/>
              <a:gd name="connsiteX3" fmla="*/ 1916303 w 1916303"/>
              <a:gd name="connsiteY3" fmla="*/ 133350 h 4266945"/>
              <a:gd name="connsiteX4" fmla="*/ 1782953 w 1916303"/>
              <a:gd name="connsiteY4" fmla="*/ 0 h 4266945"/>
              <a:gd name="connsiteX5" fmla="*/ 945642 w 1916303"/>
              <a:gd name="connsiteY5" fmla="*/ 0 h 4266945"/>
              <a:gd name="connsiteX6" fmla="*/ 813435 w 1916303"/>
              <a:gd name="connsiteY6" fmla="*/ 116586 h 4266945"/>
              <a:gd name="connsiteX7" fmla="*/ 777494 w 1916303"/>
              <a:gd name="connsiteY7" fmla="*/ 790321 h 4266945"/>
              <a:gd name="connsiteX8" fmla="*/ 0 w 1916303"/>
              <a:gd name="connsiteY8" fmla="*/ 4266946 h 4266945"/>
              <a:gd name="connsiteX9" fmla="*/ 297307 w 1916303"/>
              <a:gd name="connsiteY9" fmla="*/ 4266946 h 4266945"/>
              <a:gd name="connsiteX10" fmla="*/ 594360 w 1916303"/>
              <a:gd name="connsiteY10" fmla="*/ 3597783 h 4266945"/>
              <a:gd name="connsiteX11" fmla="*/ 1044067 w 1916303"/>
              <a:gd name="connsiteY11" fmla="*/ 797179 h 42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303" h="4266945">
                <a:moveTo>
                  <a:pt x="1044067" y="797179"/>
                </a:moveTo>
                <a:cubicBezTo>
                  <a:pt x="1049274" y="596519"/>
                  <a:pt x="1053846" y="417449"/>
                  <a:pt x="1066165" y="266700"/>
                </a:cubicBezTo>
                <a:lnTo>
                  <a:pt x="1782953" y="266700"/>
                </a:lnTo>
                <a:cubicBezTo>
                  <a:pt x="1856601" y="266700"/>
                  <a:pt x="1916303" y="206997"/>
                  <a:pt x="1916303" y="133350"/>
                </a:cubicBezTo>
                <a:cubicBezTo>
                  <a:pt x="1916303" y="59703"/>
                  <a:pt x="1856601" y="0"/>
                  <a:pt x="1782953" y="0"/>
                </a:cubicBezTo>
                <a:lnTo>
                  <a:pt x="945642" y="0"/>
                </a:lnTo>
                <a:cubicBezTo>
                  <a:pt x="878487" y="-14"/>
                  <a:pt x="821821" y="49957"/>
                  <a:pt x="813435" y="116586"/>
                </a:cubicBezTo>
                <a:cubicBezTo>
                  <a:pt x="790067" y="301371"/>
                  <a:pt x="784225" y="527939"/>
                  <a:pt x="777494" y="790321"/>
                </a:cubicBezTo>
                <a:cubicBezTo>
                  <a:pt x="754380" y="1683004"/>
                  <a:pt x="721740" y="2947797"/>
                  <a:pt x="0" y="4266946"/>
                </a:cubicBezTo>
                <a:lnTo>
                  <a:pt x="297307" y="4266946"/>
                </a:lnTo>
                <a:cubicBezTo>
                  <a:pt x="409624" y="4050036"/>
                  <a:pt x="508820" y="3826580"/>
                  <a:pt x="594360" y="3597783"/>
                </a:cubicBezTo>
                <a:cubicBezTo>
                  <a:pt x="999744" y="2512441"/>
                  <a:pt x="1025398" y="1521079"/>
                  <a:pt x="1044067" y="797179"/>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2949209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2" name="Freeform: Shape 11">
            <a:extLst>
              <a:ext uri="{FF2B5EF4-FFF2-40B4-BE49-F238E27FC236}">
                <a16:creationId xmlns:a16="http://schemas.microsoft.com/office/drawing/2014/main" id="{AB4A32E8-75AB-42D3-86D2-1B66C4AB73D9}"/>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16867846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6" name="Content Placeholder 3">
            <a:extLst>
              <a:ext uri="{FF2B5EF4-FFF2-40B4-BE49-F238E27FC236}">
                <a16:creationId xmlns:a16="http://schemas.microsoft.com/office/drawing/2014/main" id="{828B6303-5E5A-4F9F-B85F-7C003AC607B9}"/>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C14F23CB-D366-4F09-BEDD-C82A562BC064}"/>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
            <a:extLst>
              <a:ext uri="{FF2B5EF4-FFF2-40B4-BE49-F238E27FC236}">
                <a16:creationId xmlns:a16="http://schemas.microsoft.com/office/drawing/2014/main" id="{2508DEB1-7FFB-4003-BD92-0A426636F4B2}"/>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9" name="Freeform: Shape 8">
            <a:extLst>
              <a:ext uri="{FF2B5EF4-FFF2-40B4-BE49-F238E27FC236}">
                <a16:creationId xmlns:a16="http://schemas.microsoft.com/office/drawing/2014/main" id="{20C34EB3-71F9-4B2D-8EEE-10FB2F2DE143}"/>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9AB9437-5153-4E47-9687-8F42B346B14C}"/>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8B3C57A-F96E-40E7-A327-2E5A668D994C}"/>
              </a:ext>
            </a:extLst>
          </p:cNvPr>
          <p:cNvSpPr/>
          <p:nvPr/>
        </p:nvSpPr>
        <p:spPr>
          <a:xfrm>
            <a:off x="8958833" y="0"/>
            <a:ext cx="3233293" cy="1615694"/>
          </a:xfrm>
          <a:custGeom>
            <a:avLst/>
            <a:gdLst>
              <a:gd name="connsiteX0" fmla="*/ 297942 w 3233293"/>
              <a:gd name="connsiteY0" fmla="*/ 316484 h 1615694"/>
              <a:gd name="connsiteX1" fmla="*/ 3233293 w 3233293"/>
              <a:gd name="connsiteY1" fmla="*/ 1615694 h 1615694"/>
              <a:gd name="connsiteX2" fmla="*/ 3233293 w 3233293"/>
              <a:gd name="connsiteY2" fmla="*/ 0 h 1615694"/>
              <a:gd name="connsiteX3" fmla="*/ 0 w 3233293"/>
              <a:gd name="connsiteY3" fmla="*/ 0 h 1615694"/>
              <a:gd name="connsiteX4" fmla="*/ 297942 w 3233293"/>
              <a:gd name="connsiteY4" fmla="*/ 316484 h 1615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293" h="1615694">
                <a:moveTo>
                  <a:pt x="297942" y="316484"/>
                </a:moveTo>
                <a:cubicBezTo>
                  <a:pt x="1101217" y="1095629"/>
                  <a:pt x="2088642" y="1532382"/>
                  <a:pt x="3233293" y="1615694"/>
                </a:cubicBezTo>
                <a:lnTo>
                  <a:pt x="3233293" y="0"/>
                </a:lnTo>
                <a:lnTo>
                  <a:pt x="0" y="0"/>
                </a:lnTo>
                <a:cubicBezTo>
                  <a:pt x="88519" y="102870"/>
                  <a:pt x="187706" y="209550"/>
                  <a:pt x="297942" y="316484"/>
                </a:cubicBez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7C31D8C-1F17-46A9-B024-3B19A10B3DA3}"/>
              </a:ext>
            </a:extLst>
          </p:cNvPr>
          <p:cNvSpPr/>
          <p:nvPr/>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2880992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CD836DB-20FF-4ECB-BFDB-285EE8F4E18F}"/>
              </a:ext>
            </a:extLst>
          </p:cNvPr>
          <p:cNvGrpSpPr/>
          <p:nvPr userDrawn="1"/>
        </p:nvGrpSpPr>
        <p:grpSpPr>
          <a:xfrm>
            <a:off x="8944357" y="1706544"/>
            <a:ext cx="3247771" cy="5151963"/>
            <a:chOff x="8944357" y="1706544"/>
            <a:chExt cx="3247771" cy="5151963"/>
          </a:xfrm>
        </p:grpSpPr>
        <p:sp>
          <p:nvSpPr>
            <p:cNvPr id="18" name="Freeform: Shape 17">
              <a:extLst>
                <a:ext uri="{FF2B5EF4-FFF2-40B4-BE49-F238E27FC236}">
                  <a16:creationId xmlns:a16="http://schemas.microsoft.com/office/drawing/2014/main" id="{05966845-85E6-49B2-AB13-39C3A22ACF17}"/>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A0D2D12A-F7B7-4BA7-AB91-7EC22598788D}"/>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6" name="Picture Placeholder 5">
            <a:extLst>
              <a:ext uri="{FF2B5EF4-FFF2-40B4-BE49-F238E27FC236}">
                <a16:creationId xmlns:a16="http://schemas.microsoft.com/office/drawing/2014/main" id="{4B43E360-FC59-4631-9065-F313F8D5F664}"/>
              </a:ext>
            </a:extLst>
          </p:cNvPr>
          <p:cNvSpPr>
            <a:spLocks noGrp="1"/>
          </p:cNvSpPr>
          <p:nvPr>
            <p:ph type="pic" sz="quarter" idx="15"/>
          </p:nvPr>
        </p:nvSpPr>
        <p:spPr>
          <a:xfrm>
            <a:off x="8918575" y="2127906"/>
            <a:ext cx="2552699" cy="4006800"/>
          </a:xfrm>
        </p:spPr>
        <p:txBody>
          <a:bodyPr/>
          <a:lstStyle/>
          <a:p>
            <a:r>
              <a:rPr lang="en-US"/>
              <a:t>Click icon to add picture</a:t>
            </a:r>
            <a:endParaRPr lang="en-GB" dirty="0"/>
          </a:p>
        </p:txBody>
      </p:sp>
      <p:sp>
        <p:nvSpPr>
          <p:cNvPr id="17" name="Freeform: Shape 16">
            <a:extLst>
              <a:ext uri="{FF2B5EF4-FFF2-40B4-BE49-F238E27FC236}">
                <a16:creationId xmlns:a16="http://schemas.microsoft.com/office/drawing/2014/main" id="{324DC9B5-A353-4960-B089-EE1C2A20997D}"/>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6482626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7"/>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7"/>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06E694C4-9BFB-4141-B1A7-97C150BE685E}"/>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6553654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84091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8201026" cy="720000"/>
          </a:xfrm>
        </p:spPr>
        <p:txBody>
          <a:bodyPr/>
          <a:lstStyle/>
          <a:p>
            <a:pPr lvl="0"/>
            <a:r>
              <a:rPr lang="en-US"/>
              <a:t>Click to edit Master title style</a:t>
            </a:r>
            <a:endParaRPr lang="en-GB" dirty="0"/>
          </a:p>
        </p:txBody>
      </p:sp>
      <p:sp>
        <p:nvSpPr>
          <p:cNvPr id="16" name="Freeform: Shape 15">
            <a:extLst>
              <a:ext uri="{FF2B5EF4-FFF2-40B4-BE49-F238E27FC236}">
                <a16:creationId xmlns:a16="http://schemas.microsoft.com/office/drawing/2014/main" id="{A3FBBA86-6D28-470B-B82F-E07AEEEA545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90448247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6186488"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719137"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648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020300"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3" name="Freeform: Shape 12">
            <a:extLst>
              <a:ext uri="{FF2B5EF4-FFF2-40B4-BE49-F238E27FC236}">
                <a16:creationId xmlns:a16="http://schemas.microsoft.com/office/drawing/2014/main" id="{818F1BCE-16CB-48EB-BE3B-58808302C04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7433483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30475"/>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30804"/>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5460904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884741"/>
            <a:ext cx="2552699"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884741"/>
            <a:ext cx="2552700"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8" name="Freeform: Shape 27">
            <a:extLst>
              <a:ext uri="{FF2B5EF4-FFF2-40B4-BE49-F238E27FC236}">
                <a16:creationId xmlns:a16="http://schemas.microsoft.com/office/drawing/2014/main" id="{8DF29A4C-9712-4E66-B9C1-AF538CFF51BB}"/>
              </a:ext>
            </a:extLst>
          </p:cNvPr>
          <p:cNvSpPr/>
          <p:nvPr userDrawn="1"/>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B2D6E4F-11A2-47EB-92FE-B5E446DBE52C}"/>
              </a:ext>
            </a:extLst>
          </p:cNvPr>
          <p:cNvSpPr/>
          <p:nvPr/>
        </p:nvSpPr>
        <p:spPr>
          <a:xfrm>
            <a:off x="8650096" y="2349500"/>
            <a:ext cx="3541903" cy="266700"/>
          </a:xfrm>
          <a:custGeom>
            <a:avLst/>
            <a:gdLst>
              <a:gd name="connsiteX0" fmla="*/ 0 w 3541903"/>
              <a:gd name="connsiteY0" fmla="*/ 133350 h 266700"/>
              <a:gd name="connsiteX1" fmla="*/ 133350 w 3541903"/>
              <a:gd name="connsiteY1" fmla="*/ 266700 h 266700"/>
              <a:gd name="connsiteX2" fmla="*/ 3541903 w 3541903"/>
              <a:gd name="connsiteY2" fmla="*/ 266700 h 266700"/>
              <a:gd name="connsiteX3" fmla="*/ 3541903 w 3541903"/>
              <a:gd name="connsiteY3" fmla="*/ 0 h 266700"/>
              <a:gd name="connsiteX4" fmla="*/ 133350 w 3541903"/>
              <a:gd name="connsiteY4" fmla="*/ 0 h 266700"/>
              <a:gd name="connsiteX5" fmla="*/ 0 w 3541903"/>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1903" h="266700">
                <a:moveTo>
                  <a:pt x="0" y="133350"/>
                </a:moveTo>
                <a:cubicBezTo>
                  <a:pt x="0" y="206997"/>
                  <a:pt x="59703" y="266700"/>
                  <a:pt x="133350" y="266700"/>
                </a:cubicBezTo>
                <a:lnTo>
                  <a:pt x="3541903" y="266700"/>
                </a:lnTo>
                <a:lnTo>
                  <a:pt x="3541903" y="0"/>
                </a:lnTo>
                <a:lnTo>
                  <a:pt x="133350" y="0"/>
                </a:lnTo>
                <a:cubicBezTo>
                  <a:pt x="59703" y="0"/>
                  <a:pt x="0" y="59703"/>
                  <a:pt x="0" y="133350"/>
                </a:cubicBezTo>
                <a:close/>
              </a:path>
            </a:pathLst>
          </a:custGeom>
          <a:solidFill>
            <a:srgbClr val="D19EC7"/>
          </a:solidFill>
          <a:ln w="1270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76FF8548-3421-4E4E-9A66-8B44D31050B3}"/>
              </a:ext>
            </a:extLst>
          </p:cNvPr>
          <p:cNvSpPr/>
          <p:nvPr/>
        </p:nvSpPr>
        <p:spPr>
          <a:xfrm>
            <a:off x="5683884" y="2349500"/>
            <a:ext cx="3805428" cy="266700"/>
          </a:xfrm>
          <a:custGeom>
            <a:avLst/>
            <a:gdLst>
              <a:gd name="connsiteX0" fmla="*/ 3672078 w 3805428"/>
              <a:gd name="connsiteY0" fmla="*/ 266700 h 266700"/>
              <a:gd name="connsiteX1" fmla="*/ 133350 w 3805428"/>
              <a:gd name="connsiteY1" fmla="*/ 266700 h 266700"/>
              <a:gd name="connsiteX2" fmla="*/ 0 w 3805428"/>
              <a:gd name="connsiteY2" fmla="*/ 133350 h 266700"/>
              <a:gd name="connsiteX3" fmla="*/ 133350 w 3805428"/>
              <a:gd name="connsiteY3" fmla="*/ 0 h 266700"/>
              <a:gd name="connsiteX4" fmla="*/ 3672078 w 3805428"/>
              <a:gd name="connsiteY4" fmla="*/ 0 h 266700"/>
              <a:gd name="connsiteX5" fmla="*/ 3805428 w 3805428"/>
              <a:gd name="connsiteY5" fmla="*/ 133350 h 266700"/>
              <a:gd name="connsiteX6" fmla="*/ 3672078 w 3805428"/>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8" h="266700">
                <a:moveTo>
                  <a:pt x="3672078" y="266700"/>
                </a:moveTo>
                <a:lnTo>
                  <a:pt x="133350" y="266700"/>
                </a:lnTo>
                <a:cubicBezTo>
                  <a:pt x="59703" y="266700"/>
                  <a:pt x="0" y="206997"/>
                  <a:pt x="0" y="133350"/>
                </a:cubicBezTo>
                <a:cubicBezTo>
                  <a:pt x="0" y="59703"/>
                  <a:pt x="59703" y="0"/>
                  <a:pt x="133350" y="0"/>
                </a:cubicBezTo>
                <a:lnTo>
                  <a:pt x="3672078" y="0"/>
                </a:lnTo>
                <a:cubicBezTo>
                  <a:pt x="3745726" y="0"/>
                  <a:pt x="3805428" y="59703"/>
                  <a:pt x="3805428" y="133350"/>
                </a:cubicBezTo>
                <a:cubicBezTo>
                  <a:pt x="3805428" y="206997"/>
                  <a:pt x="3745726" y="266700"/>
                  <a:pt x="3672078" y="266700"/>
                </a:cubicBezTo>
                <a:close/>
              </a:path>
            </a:pathLst>
          </a:custGeom>
          <a:solidFill>
            <a:srgbClr val="EDC2B2"/>
          </a:solidFill>
          <a:ln w="1270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DB94F954-1122-427F-AA9E-A4AACAED58A9}"/>
              </a:ext>
            </a:extLst>
          </p:cNvPr>
          <p:cNvSpPr/>
          <p:nvPr/>
        </p:nvSpPr>
        <p:spPr>
          <a:xfrm>
            <a:off x="2715132" y="2349500"/>
            <a:ext cx="3805301" cy="266700"/>
          </a:xfrm>
          <a:custGeom>
            <a:avLst/>
            <a:gdLst>
              <a:gd name="connsiteX0" fmla="*/ 3671951 w 3805301"/>
              <a:gd name="connsiteY0" fmla="*/ 266700 h 266700"/>
              <a:gd name="connsiteX1" fmla="*/ 133350 w 3805301"/>
              <a:gd name="connsiteY1" fmla="*/ 266700 h 266700"/>
              <a:gd name="connsiteX2" fmla="*/ 0 w 3805301"/>
              <a:gd name="connsiteY2" fmla="*/ 133350 h 266700"/>
              <a:gd name="connsiteX3" fmla="*/ 133350 w 3805301"/>
              <a:gd name="connsiteY3" fmla="*/ 0 h 266700"/>
              <a:gd name="connsiteX4" fmla="*/ 3671951 w 3805301"/>
              <a:gd name="connsiteY4" fmla="*/ 0 h 266700"/>
              <a:gd name="connsiteX5" fmla="*/ 3805302 w 3805301"/>
              <a:gd name="connsiteY5" fmla="*/ 133350 h 266700"/>
              <a:gd name="connsiteX6" fmla="*/ 3671952 w 3805301"/>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301" h="266700">
                <a:moveTo>
                  <a:pt x="3671951" y="266700"/>
                </a:moveTo>
                <a:lnTo>
                  <a:pt x="133350" y="266700"/>
                </a:lnTo>
                <a:cubicBezTo>
                  <a:pt x="59703" y="266700"/>
                  <a:pt x="0" y="206997"/>
                  <a:pt x="0" y="133350"/>
                </a:cubicBezTo>
                <a:cubicBezTo>
                  <a:pt x="0" y="59703"/>
                  <a:pt x="59703" y="0"/>
                  <a:pt x="133350" y="0"/>
                </a:cubicBezTo>
                <a:lnTo>
                  <a:pt x="3671951" y="0"/>
                </a:lnTo>
                <a:cubicBezTo>
                  <a:pt x="3745598" y="0"/>
                  <a:pt x="3805302" y="59703"/>
                  <a:pt x="3805302" y="133350"/>
                </a:cubicBezTo>
                <a:cubicBezTo>
                  <a:pt x="3805302" y="206997"/>
                  <a:pt x="3745599" y="266700"/>
                  <a:pt x="3671952" y="266700"/>
                </a:cubicBezTo>
                <a:close/>
              </a:path>
            </a:pathLst>
          </a:custGeom>
          <a:solidFill>
            <a:srgbClr val="9EDED4"/>
          </a:solidFill>
          <a:ln w="1270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326E4F0B-FAC1-4CDE-948B-7C353EBC5D15}"/>
              </a:ext>
            </a:extLst>
          </p:cNvPr>
          <p:cNvSpPr/>
          <p:nvPr/>
        </p:nvSpPr>
        <p:spPr>
          <a:xfrm>
            <a:off x="0" y="2349500"/>
            <a:ext cx="3542029" cy="266700"/>
          </a:xfrm>
          <a:custGeom>
            <a:avLst/>
            <a:gdLst>
              <a:gd name="connsiteX0" fmla="*/ 3542030 w 3542029"/>
              <a:gd name="connsiteY0" fmla="*/ 133350 h 266700"/>
              <a:gd name="connsiteX1" fmla="*/ 3408680 w 3542029"/>
              <a:gd name="connsiteY1" fmla="*/ 0 h 266700"/>
              <a:gd name="connsiteX2" fmla="*/ 0 w 3542029"/>
              <a:gd name="connsiteY2" fmla="*/ 0 h 266700"/>
              <a:gd name="connsiteX3" fmla="*/ 0 w 3542029"/>
              <a:gd name="connsiteY3" fmla="*/ 266700 h 266700"/>
              <a:gd name="connsiteX4" fmla="*/ 3408680 w 3542029"/>
              <a:gd name="connsiteY4" fmla="*/ 266700 h 266700"/>
              <a:gd name="connsiteX5" fmla="*/ 3542030 w 3542029"/>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2029" h="266700">
                <a:moveTo>
                  <a:pt x="3542030" y="133350"/>
                </a:moveTo>
                <a:cubicBezTo>
                  <a:pt x="3542030" y="59703"/>
                  <a:pt x="3482327" y="0"/>
                  <a:pt x="3408680" y="0"/>
                </a:cubicBezTo>
                <a:lnTo>
                  <a:pt x="0" y="0"/>
                </a:lnTo>
                <a:lnTo>
                  <a:pt x="0" y="266700"/>
                </a:lnTo>
                <a:lnTo>
                  <a:pt x="3408680" y="266700"/>
                </a:lnTo>
                <a:cubicBezTo>
                  <a:pt x="3482327" y="266700"/>
                  <a:pt x="3542030" y="206997"/>
                  <a:pt x="3542030" y="133350"/>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4141013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2D7E41-C7F8-4707-B5F1-EA6F8F846A0A}"/>
              </a:ext>
            </a:extLst>
          </p:cNvPr>
          <p:cNvSpPr>
            <a:spLocks noGrp="1"/>
          </p:cNvSpPr>
          <p:nvPr>
            <p:ph type="dt" sz="half" idx="10"/>
          </p:nvPr>
        </p:nvSpPr>
        <p:spPr/>
        <p:txBody>
          <a:bodyPr/>
          <a:lstStyle/>
          <a:p>
            <a:r>
              <a:rPr lang="en-US"/>
              <a:t>dd Month 2021</a:t>
            </a:r>
            <a:endParaRPr lang="en-GB" dirty="0"/>
          </a:p>
        </p:txBody>
      </p:sp>
      <p:sp>
        <p:nvSpPr>
          <p:cNvPr id="3" name="Footer Placeholder 2">
            <a:extLst>
              <a:ext uri="{FF2B5EF4-FFF2-40B4-BE49-F238E27FC236}">
                <a16:creationId xmlns:a16="http://schemas.microsoft.com/office/drawing/2014/main" id="{A16A7665-89F6-450F-B436-DAFC760E9AD1}"/>
              </a:ext>
            </a:extLst>
          </p:cNvPr>
          <p:cNvSpPr>
            <a:spLocks noGrp="1"/>
          </p:cNvSpPr>
          <p:nvPr>
            <p:ph type="ftr" sz="quarter" idx="11"/>
          </p:nvPr>
        </p:nvSpPr>
        <p:spPr/>
        <p:txBody>
          <a:bodyPr/>
          <a:lstStyle/>
          <a:p>
            <a:r>
              <a:rPr lang="en-GB"/>
              <a:t>Update Footer to add the Document title</a:t>
            </a:r>
            <a:endParaRPr lang="en-GB" dirty="0"/>
          </a:p>
        </p:txBody>
      </p:sp>
    </p:spTree>
    <p:extLst>
      <p:ext uri="{BB962C8B-B14F-4D97-AF65-F5344CB8AC3E}">
        <p14:creationId xmlns:p14="http://schemas.microsoft.com/office/powerpoint/2010/main" val="21882821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Content and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5260AAC-FBD9-4C1E-B169-41C32038B4F2}"/>
              </a:ext>
            </a:extLst>
          </p:cNvPr>
          <p:cNvSpPr/>
          <p:nvPr/>
        </p:nvSpPr>
        <p:spPr>
          <a:xfrm>
            <a:off x="5379781" y="3391416"/>
            <a:ext cx="6810629" cy="3466581"/>
          </a:xfrm>
          <a:custGeom>
            <a:avLst/>
            <a:gdLst>
              <a:gd name="connsiteX0" fmla="*/ 6810630 w 6810629"/>
              <a:gd name="connsiteY0" fmla="*/ 271424 h 3466581"/>
              <a:gd name="connsiteX1" fmla="*/ 6810630 w 6810629"/>
              <a:gd name="connsiteY1" fmla="*/ 4759 h 3466581"/>
              <a:gd name="connsiteX2" fmla="*/ 4348548 w 6810629"/>
              <a:gd name="connsiteY2" fmla="*/ 254789 h 3466581"/>
              <a:gd name="connsiteX3" fmla="*/ 994788 w 6810629"/>
              <a:gd name="connsiteY3" fmla="*/ 2207922 h 3466581"/>
              <a:gd name="connsiteX4" fmla="*/ 0 w 6810629"/>
              <a:gd name="connsiteY4" fmla="*/ 3466581 h 3466581"/>
              <a:gd name="connsiteX5" fmla="*/ 320506 w 6810629"/>
              <a:gd name="connsiteY5" fmla="*/ 3466581 h 3466581"/>
              <a:gd name="connsiteX6" fmla="*/ 1186787 w 6810629"/>
              <a:gd name="connsiteY6" fmla="*/ 2392937 h 3466581"/>
              <a:gd name="connsiteX7" fmla="*/ 6810630 w 6810629"/>
              <a:gd name="connsiteY7" fmla="*/ 271424 h 34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629" h="3466581">
                <a:moveTo>
                  <a:pt x="6810630" y="271424"/>
                </a:moveTo>
                <a:lnTo>
                  <a:pt x="6810630" y="4759"/>
                </a:lnTo>
                <a:cubicBezTo>
                  <a:pt x="5929873" y="-21654"/>
                  <a:pt x="5104988" y="61902"/>
                  <a:pt x="4348548" y="254789"/>
                </a:cubicBezTo>
                <a:cubicBezTo>
                  <a:pt x="3054840" y="584692"/>
                  <a:pt x="1926339" y="1241831"/>
                  <a:pt x="994788" y="2207922"/>
                </a:cubicBezTo>
                <a:cubicBezTo>
                  <a:pt x="624210" y="2595137"/>
                  <a:pt x="291127" y="3016571"/>
                  <a:pt x="0" y="3466581"/>
                </a:cubicBezTo>
                <a:lnTo>
                  <a:pt x="320506" y="3466581"/>
                </a:lnTo>
                <a:cubicBezTo>
                  <a:pt x="578284" y="3084771"/>
                  <a:pt x="868090" y="2725593"/>
                  <a:pt x="1186787" y="2392937"/>
                </a:cubicBezTo>
                <a:cubicBezTo>
                  <a:pt x="2614081" y="912818"/>
                  <a:pt x="4502706" y="201329"/>
                  <a:pt x="6810630" y="271424"/>
                </a:cubicBezTo>
                <a:close/>
              </a:path>
            </a:pathLst>
          </a:custGeom>
          <a:solidFill>
            <a:srgbClr val="85ABE3"/>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096125" y="2128838"/>
            <a:ext cx="4375150"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46576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9B9455DB-5F59-44BE-8DE3-D293EF6BD9FF}"/>
              </a:ext>
            </a:extLst>
          </p:cNvPr>
          <p:cNvSpPr/>
          <p:nvPr userDrawn="1"/>
        </p:nvSpPr>
        <p:spPr>
          <a:xfrm>
            <a:off x="1" y="893"/>
            <a:ext cx="12190536" cy="6857105"/>
          </a:xfrm>
          <a:custGeom>
            <a:avLst/>
            <a:gdLst>
              <a:gd name="connsiteX0" fmla="*/ 0 w 12190536"/>
              <a:gd name="connsiteY0" fmla="*/ 0 h 6857105"/>
              <a:gd name="connsiteX1" fmla="*/ 12190537 w 12190536"/>
              <a:gd name="connsiteY1" fmla="*/ 0 h 6857105"/>
              <a:gd name="connsiteX2" fmla="*/ 12190537 w 12190536"/>
              <a:gd name="connsiteY2" fmla="*/ 6857105 h 6857105"/>
              <a:gd name="connsiteX3" fmla="*/ 0 w 12190536"/>
              <a:gd name="connsiteY3" fmla="*/ 6857105 h 6857105"/>
            </a:gdLst>
            <a:ahLst/>
            <a:cxnLst>
              <a:cxn ang="0">
                <a:pos x="connsiteX0" y="connsiteY0"/>
              </a:cxn>
              <a:cxn ang="0">
                <a:pos x="connsiteX1" y="connsiteY1"/>
              </a:cxn>
              <a:cxn ang="0">
                <a:pos x="connsiteX2" y="connsiteY2"/>
              </a:cxn>
              <a:cxn ang="0">
                <a:pos x="connsiteX3" y="connsiteY3"/>
              </a:cxn>
            </a:cxnLst>
            <a:rect l="l" t="t" r="r" b="b"/>
            <a:pathLst>
              <a:path w="12190536" h="6857105">
                <a:moveTo>
                  <a:pt x="0" y="0"/>
                </a:moveTo>
                <a:lnTo>
                  <a:pt x="12190537" y="0"/>
                </a:lnTo>
                <a:lnTo>
                  <a:pt x="12190537" y="6857105"/>
                </a:lnTo>
                <a:lnTo>
                  <a:pt x="0" y="6857105"/>
                </a:ln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39179778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ne Content and Sma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5E56D3C-DAC2-43A0-AEC2-CC85CC8D5308}"/>
              </a:ext>
            </a:extLst>
          </p:cNvPr>
          <p:cNvSpPr/>
          <p:nvPr/>
        </p:nvSpPr>
        <p:spPr>
          <a:xfrm>
            <a:off x="9663795" y="0"/>
            <a:ext cx="2528205" cy="4327499"/>
          </a:xfrm>
          <a:custGeom>
            <a:avLst/>
            <a:gdLst>
              <a:gd name="connsiteX0" fmla="*/ 2528206 w 2528205"/>
              <a:gd name="connsiteY0" fmla="*/ 4327500 h 4327499"/>
              <a:gd name="connsiteX1" fmla="*/ 2528206 w 2528205"/>
              <a:gd name="connsiteY1" fmla="*/ 4011680 h 4327499"/>
              <a:gd name="connsiteX2" fmla="*/ 932346 w 2528205"/>
              <a:gd name="connsiteY2" fmla="*/ 2254292 h 4327499"/>
              <a:gd name="connsiteX3" fmla="*/ 268199 w 2528205"/>
              <a:gd name="connsiteY3" fmla="*/ 0 h 4327499"/>
              <a:gd name="connsiteX4" fmla="*/ 0 w 2528205"/>
              <a:gd name="connsiteY4" fmla="*/ 0 h 4327499"/>
              <a:gd name="connsiteX5" fmla="*/ 696149 w 2528205"/>
              <a:gd name="connsiteY5" fmla="*/ 2377979 h 4327499"/>
              <a:gd name="connsiteX6" fmla="*/ 2528206 w 2528205"/>
              <a:gd name="connsiteY6" fmla="*/ 4327500 h 432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205" h="4327499">
                <a:moveTo>
                  <a:pt x="2528206" y="4327500"/>
                </a:moveTo>
                <a:lnTo>
                  <a:pt x="2528206" y="4011680"/>
                </a:lnTo>
                <a:cubicBezTo>
                  <a:pt x="1847888" y="3570608"/>
                  <a:pt x="1315935" y="2984812"/>
                  <a:pt x="932346" y="2254292"/>
                </a:cubicBezTo>
                <a:cubicBezTo>
                  <a:pt x="598368" y="1616431"/>
                  <a:pt x="375631" y="859582"/>
                  <a:pt x="268199" y="0"/>
                </a:cubicBezTo>
                <a:lnTo>
                  <a:pt x="0" y="0"/>
                </a:lnTo>
                <a:cubicBezTo>
                  <a:pt x="109209" y="905044"/>
                  <a:pt x="342868" y="1703545"/>
                  <a:pt x="696149" y="2377979"/>
                </a:cubicBezTo>
                <a:cubicBezTo>
                  <a:pt x="1127527" y="3202131"/>
                  <a:pt x="1740499" y="3853453"/>
                  <a:pt x="2528206" y="4327500"/>
                </a:cubicBezTo>
                <a:close/>
              </a:path>
            </a:pathLst>
          </a:custGeom>
          <a:solidFill>
            <a:srgbClr val="005C82"/>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918575" y="2128838"/>
            <a:ext cx="2552699"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728821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8929687"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13D53B7E-D789-4970-8EF6-A8ACEEEA4426}"/>
              </a:ext>
            </a:extLst>
          </p:cNvPr>
          <p:cNvSpPr/>
          <p:nvPr/>
        </p:nvSpPr>
        <p:spPr>
          <a:xfrm>
            <a:off x="1145" y="0"/>
            <a:ext cx="12191997" cy="6857356"/>
          </a:xfrm>
          <a:custGeom>
            <a:avLst/>
            <a:gdLst>
              <a:gd name="connsiteX0" fmla="*/ 0 w 12191997"/>
              <a:gd name="connsiteY0" fmla="*/ 0 h 6857356"/>
              <a:gd name="connsiteX1" fmla="*/ 12191998 w 12191997"/>
              <a:gd name="connsiteY1" fmla="*/ 0 h 6857356"/>
              <a:gd name="connsiteX2" fmla="*/ 12191998 w 12191997"/>
              <a:gd name="connsiteY2" fmla="*/ 6857356 h 6857356"/>
              <a:gd name="connsiteX3" fmla="*/ 0 w 12191997"/>
              <a:gd name="connsiteY3" fmla="*/ 6857356 h 6857356"/>
            </a:gdLst>
            <a:ahLst/>
            <a:cxnLst>
              <a:cxn ang="0">
                <a:pos x="connsiteX0" y="connsiteY0"/>
              </a:cxn>
              <a:cxn ang="0">
                <a:pos x="connsiteX1" y="connsiteY1"/>
              </a:cxn>
              <a:cxn ang="0">
                <a:pos x="connsiteX2" y="connsiteY2"/>
              </a:cxn>
              <a:cxn ang="0">
                <a:pos x="connsiteX3" y="connsiteY3"/>
              </a:cxn>
            </a:cxnLst>
            <a:rect l="l" t="t" r="r" b="b"/>
            <a:pathLst>
              <a:path w="12191997" h="6857356">
                <a:moveTo>
                  <a:pt x="0" y="0"/>
                </a:moveTo>
                <a:lnTo>
                  <a:pt x="12191998" y="0"/>
                </a:lnTo>
                <a:lnTo>
                  <a:pt x="12191998" y="6857356"/>
                </a:lnTo>
                <a:lnTo>
                  <a:pt x="0" y="6857356"/>
                </a:lnTo>
                <a:close/>
              </a:path>
            </a:pathLst>
          </a:custGeom>
          <a:noFill/>
          <a:ln w="1269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0498395-BC18-46FC-857B-AC4EF1D1550B}"/>
              </a:ext>
            </a:extLst>
          </p:cNvPr>
          <p:cNvSpPr/>
          <p:nvPr/>
        </p:nvSpPr>
        <p:spPr>
          <a:xfrm>
            <a:off x="1145" y="0"/>
            <a:ext cx="12191998" cy="6857356"/>
          </a:xfrm>
          <a:custGeom>
            <a:avLst/>
            <a:gdLst>
              <a:gd name="connsiteX0" fmla="*/ 10359941 w 12191998"/>
              <a:gd name="connsiteY0" fmla="*/ 2377979 h 6857356"/>
              <a:gd name="connsiteX1" fmla="*/ 9663792 w 12191998"/>
              <a:gd name="connsiteY1" fmla="*/ 0 h 6857356"/>
              <a:gd name="connsiteX2" fmla="*/ 0 w 12191998"/>
              <a:gd name="connsiteY2" fmla="*/ 0 h 6857356"/>
              <a:gd name="connsiteX3" fmla="*/ 0 w 12191998"/>
              <a:gd name="connsiteY3" fmla="*/ 6857356 h 6857356"/>
              <a:gd name="connsiteX4" fmla="*/ 12191998 w 12191998"/>
              <a:gd name="connsiteY4" fmla="*/ 6857356 h 6857356"/>
              <a:gd name="connsiteX5" fmla="*/ 12191998 w 12191998"/>
              <a:gd name="connsiteY5" fmla="*/ 4327500 h 6857356"/>
              <a:gd name="connsiteX6" fmla="*/ 10359941 w 12191998"/>
              <a:gd name="connsiteY6" fmla="*/ 2377979 h 685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6857356">
                <a:moveTo>
                  <a:pt x="10359941" y="2377979"/>
                </a:moveTo>
                <a:cubicBezTo>
                  <a:pt x="10006660" y="1703545"/>
                  <a:pt x="9773002" y="905044"/>
                  <a:pt x="9663792" y="0"/>
                </a:cubicBezTo>
                <a:lnTo>
                  <a:pt x="0" y="0"/>
                </a:lnTo>
                <a:lnTo>
                  <a:pt x="0" y="6857356"/>
                </a:lnTo>
                <a:lnTo>
                  <a:pt x="12191998" y="6857356"/>
                </a:lnTo>
                <a:lnTo>
                  <a:pt x="12191998" y="4327500"/>
                </a:lnTo>
                <a:cubicBezTo>
                  <a:pt x="11404291" y="3853453"/>
                  <a:pt x="10791319" y="3202131"/>
                  <a:pt x="10359941" y="2377979"/>
                </a:cubicBez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460867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ntent and Large Image">
    <p:bg>
      <p:bgPr>
        <a:solidFill>
          <a:schemeClr val="accent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8D6020D-1F24-427E-AFFD-B74FAE976B9B}"/>
              </a:ext>
            </a:extLst>
          </p:cNvPr>
          <p:cNvGrpSpPr/>
          <p:nvPr userDrawn="1"/>
        </p:nvGrpSpPr>
        <p:grpSpPr>
          <a:xfrm>
            <a:off x="6140583" y="1514596"/>
            <a:ext cx="6052444" cy="5343401"/>
            <a:chOff x="6140583" y="1514596"/>
            <a:chExt cx="6052444" cy="5343401"/>
          </a:xfrm>
        </p:grpSpPr>
        <p:sp>
          <p:nvSpPr>
            <p:cNvPr id="17" name="Freeform: Shape 16">
              <a:extLst>
                <a:ext uri="{FF2B5EF4-FFF2-40B4-BE49-F238E27FC236}">
                  <a16:creationId xmlns:a16="http://schemas.microsoft.com/office/drawing/2014/main" id="{1A9AE98D-929D-4305-8E20-BEE836EA715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0F3C96E-5D9C-4E33-A548-A25E9BEC1E8A}"/>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85557CA-AED1-46C0-B285-11DD0961E0F3}"/>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990937"/>
            <a:ext cx="7108826"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6" y="2128838"/>
            <a:ext cx="7108827"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1"/>
                </a:solidFill>
                <a:latin typeface="+mj-lt"/>
              </a:defRPr>
            </a:lvl7pPr>
            <a:lvl8pPr marL="0" indent="0" algn="l">
              <a:lnSpc>
                <a:spcPct val="100000"/>
              </a:lnSpc>
              <a:spcBef>
                <a:spcPts val="0"/>
              </a:spcBef>
              <a:buNone/>
              <a:defRPr sz="1800" i="1">
                <a:solidFill>
                  <a:schemeClr val="tx2"/>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6" y="666745"/>
            <a:ext cx="7108827" cy="1368000"/>
          </a:xfrm>
        </p:spPr>
        <p:txBody>
          <a:bodyPr/>
          <a:lstStyle/>
          <a:p>
            <a:pPr lvl="0"/>
            <a:r>
              <a:rPr lang="en-US"/>
              <a:t>Click to edit Master title style</a:t>
            </a:r>
            <a:endParaRPr lang="en-GB" dirty="0"/>
          </a:p>
        </p:txBody>
      </p:sp>
      <p:sp>
        <p:nvSpPr>
          <p:cNvPr id="20" name="Freeform: Shape 19">
            <a:extLst>
              <a:ext uri="{FF2B5EF4-FFF2-40B4-BE49-F238E27FC236}">
                <a16:creationId xmlns:a16="http://schemas.microsoft.com/office/drawing/2014/main" id="{8ECF9D0E-6D6B-4A9D-9688-3D0EC0BC5D39}"/>
              </a:ext>
            </a:extLst>
          </p:cNvPr>
          <p:cNvSpPr/>
          <p:nvPr/>
        </p:nvSpPr>
        <p:spPr>
          <a:xfrm>
            <a:off x="1" y="-7"/>
            <a:ext cx="12193153" cy="6858005"/>
          </a:xfrm>
          <a:custGeom>
            <a:avLst/>
            <a:gdLst>
              <a:gd name="connsiteX0" fmla="*/ 0 w 12193153"/>
              <a:gd name="connsiteY0" fmla="*/ 0 h 6858005"/>
              <a:gd name="connsiteX1" fmla="*/ 12193153 w 12193153"/>
              <a:gd name="connsiteY1" fmla="*/ 0 h 6858005"/>
              <a:gd name="connsiteX2" fmla="*/ 12193153 w 12193153"/>
              <a:gd name="connsiteY2" fmla="*/ 6858005 h 6858005"/>
              <a:gd name="connsiteX3" fmla="*/ 0 w 12193153"/>
              <a:gd name="connsiteY3" fmla="*/ 6858005 h 6858005"/>
            </a:gdLst>
            <a:ahLst/>
            <a:cxnLst>
              <a:cxn ang="0">
                <a:pos x="connsiteX0" y="connsiteY0"/>
              </a:cxn>
              <a:cxn ang="0">
                <a:pos x="connsiteX1" y="connsiteY1"/>
              </a:cxn>
              <a:cxn ang="0">
                <a:pos x="connsiteX2" y="connsiteY2"/>
              </a:cxn>
              <a:cxn ang="0">
                <a:pos x="connsiteX3" y="connsiteY3"/>
              </a:cxn>
            </a:cxnLst>
            <a:rect l="l" t="t" r="r" b="b"/>
            <a:pathLst>
              <a:path w="12193153" h="6858005">
                <a:moveTo>
                  <a:pt x="0" y="0"/>
                </a:moveTo>
                <a:lnTo>
                  <a:pt x="12193153" y="0"/>
                </a:lnTo>
                <a:lnTo>
                  <a:pt x="12193153" y="6858005"/>
                </a:lnTo>
                <a:lnTo>
                  <a:pt x="0" y="6858005"/>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4363447"/>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and Large Image">
    <p:bg>
      <p:bgPr>
        <a:solidFill>
          <a:schemeClr val="accent4"/>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F738942-6048-45C4-98D8-C0116A51019A}"/>
              </a:ext>
            </a:extLst>
          </p:cNvPr>
          <p:cNvGrpSpPr/>
          <p:nvPr userDrawn="1"/>
        </p:nvGrpSpPr>
        <p:grpSpPr>
          <a:xfrm>
            <a:off x="6140583" y="1514596"/>
            <a:ext cx="6052444" cy="5343401"/>
            <a:chOff x="6140583" y="1514596"/>
            <a:chExt cx="6052444" cy="5343401"/>
          </a:xfrm>
        </p:grpSpPr>
        <p:sp>
          <p:nvSpPr>
            <p:cNvPr id="18" name="Freeform: Shape 17">
              <a:extLst>
                <a:ext uri="{FF2B5EF4-FFF2-40B4-BE49-F238E27FC236}">
                  <a16:creationId xmlns:a16="http://schemas.microsoft.com/office/drawing/2014/main" id="{05D24422-BEC0-46DA-A735-2F65A8E5017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23FD5AC-26EE-4EB7-A613-3325FAB84AA3}"/>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9417C80-6101-47AB-B3F7-40A05CC3A2EA}"/>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91BA52AE-9ABC-4055-9C13-8C8165D9881B}"/>
              </a:ext>
            </a:extLst>
          </p:cNvPr>
          <p:cNvSpPr>
            <a:spLocks noGrp="1"/>
          </p:cNvSpPr>
          <p:nvPr>
            <p:ph idx="14"/>
          </p:nvPr>
        </p:nvSpPr>
        <p:spPr>
          <a:xfrm>
            <a:off x="4364038" y="2990638"/>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990639"/>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2128838"/>
            <a:ext cx="7108826"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598337872"/>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A97D11A-B07A-45DD-B5F7-3C1317C2F07A}"/>
              </a:ext>
            </a:extLst>
          </p:cNvPr>
          <p:cNvGrpSpPr/>
          <p:nvPr userDrawn="1"/>
        </p:nvGrpSpPr>
        <p:grpSpPr>
          <a:xfrm>
            <a:off x="0" y="0"/>
            <a:ext cx="5134863" cy="4480922"/>
            <a:chOff x="0" y="0"/>
            <a:chExt cx="5134863" cy="4480922"/>
          </a:xfrm>
        </p:grpSpPr>
        <p:sp>
          <p:nvSpPr>
            <p:cNvPr id="16" name="Freeform: Shape 15">
              <a:extLst>
                <a:ext uri="{FF2B5EF4-FFF2-40B4-BE49-F238E27FC236}">
                  <a16:creationId xmlns:a16="http://schemas.microsoft.com/office/drawing/2014/main" id="{F76299E4-E25F-4038-A9F4-ADCF55EE1965}"/>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rgbClr val="FFE84C"/>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5C98D058-C87A-4B6A-83A1-6235BF2E7E5F}"/>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4375150"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005513" y="3374933"/>
            <a:ext cx="5465761"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6005513" y="2128838"/>
            <a:ext cx="5465761"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384770935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2">
    <p:bg>
      <p:bgPr>
        <a:solidFill>
          <a:schemeClr val="accent1"/>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259" y="720725"/>
            <a:ext cx="4375150" cy="5416550"/>
          </a:xfrm>
        </p:spPr>
        <p:txBody>
          <a:bodyPr/>
          <a:lstStyle/>
          <a:p>
            <a:r>
              <a:rPr lang="en-US"/>
              <a:t>Click icon to add pictur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672823"/>
          </a:xfrm>
        </p:spPr>
        <p:txBody>
          <a:bodyPr>
            <a:noAutofit/>
          </a:bodyPr>
          <a:lstStyle/>
          <a:p>
            <a:pPr lvl="0"/>
            <a:r>
              <a:rPr lang="en-US"/>
              <a:t>Click to edit Master title style</a:t>
            </a:r>
            <a:endParaRPr lang="en-GB" dirty="0"/>
          </a:p>
        </p:txBody>
      </p:sp>
      <p:sp>
        <p:nvSpPr>
          <p:cNvPr id="9" name="Subtitle 1">
            <a:extLst>
              <a:ext uri="{FF2B5EF4-FFF2-40B4-BE49-F238E27FC236}">
                <a16:creationId xmlns:a16="http://schemas.microsoft.com/office/drawing/2014/main" id="{2DA586D9-EBA0-4AB4-8F39-649FC494C899}"/>
              </a:ext>
            </a:extLst>
          </p:cNvPr>
          <p:cNvSpPr>
            <a:spLocks noGrp="1"/>
          </p:cNvSpPr>
          <p:nvPr>
            <p:ph type="subTitle" idx="12"/>
          </p:nvPr>
        </p:nvSpPr>
        <p:spPr>
          <a:xfrm>
            <a:off x="6005513" y="1339568"/>
            <a:ext cx="5465761" cy="527734"/>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0" name="Freeform: Shape 9">
            <a:extLst>
              <a:ext uri="{FF2B5EF4-FFF2-40B4-BE49-F238E27FC236}">
                <a16:creationId xmlns:a16="http://schemas.microsoft.com/office/drawing/2014/main" id="{3B7B3F0B-1F83-4BC9-8F30-052B22C24275}"/>
              </a:ext>
            </a:extLst>
          </p:cNvPr>
          <p:cNvSpPr/>
          <p:nvPr userDrawn="1"/>
        </p:nvSpPr>
        <p:spPr>
          <a:xfrm rot="18016983">
            <a:off x="-1583825" y="693673"/>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9240424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Content and Image Lef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AADBDED-F3FE-4CAB-88F5-3C5B19159405}"/>
              </a:ext>
            </a:extLst>
          </p:cNvPr>
          <p:cNvGrpSpPr/>
          <p:nvPr userDrawn="1"/>
        </p:nvGrpSpPr>
        <p:grpSpPr>
          <a:xfrm>
            <a:off x="0" y="0"/>
            <a:ext cx="5134863" cy="4480922"/>
            <a:chOff x="0" y="0"/>
            <a:chExt cx="5134863" cy="4480922"/>
          </a:xfrm>
        </p:grpSpPr>
        <p:sp>
          <p:nvSpPr>
            <p:cNvPr id="14" name="Freeform: Shape 13">
              <a:extLst>
                <a:ext uri="{FF2B5EF4-FFF2-40B4-BE49-F238E27FC236}">
                  <a16:creationId xmlns:a16="http://schemas.microsoft.com/office/drawing/2014/main" id="{2F20CED0-286C-49EF-8946-C9362682E66E}"/>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1"/>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27D2956-1F82-4E82-8703-8B886F1DDC2B}"/>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3463924"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5094289" y="3374933"/>
            <a:ext cx="6376986"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5094289" y="2128838"/>
            <a:ext cx="6376986"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5094289" y="666744"/>
            <a:ext cx="6376986"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277414205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2128838"/>
            <a:ext cx="2733673" cy="4006800"/>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6B4CA702-2FD4-456F-AE3B-5E547319FD5E}"/>
              </a:ext>
            </a:extLst>
          </p:cNvPr>
          <p:cNvSpPr>
            <a:spLocks noGrp="1"/>
          </p:cNvSpPr>
          <p:nvPr>
            <p:ph idx="14"/>
          </p:nvPr>
        </p:nvSpPr>
        <p:spPr>
          <a:xfrm>
            <a:off x="43640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3463924"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7260320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6013343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Bio 1">
    <p:bg>
      <p:bgPr>
        <a:solidFill>
          <a:schemeClr val="accent5"/>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B05E4C6-B644-4A07-BE10-28429BB2C13E}"/>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tx2"/>
          </a:solidFill>
          <a:ln w="1270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rot="16200000">
            <a:off x="-1628637" y="3068637"/>
            <a:ext cx="5417275"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2541587" y="719997"/>
            <a:ext cx="2552699" cy="1701799"/>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6184901" y="719999"/>
            <a:ext cx="5286374" cy="360001"/>
          </a:xfrm>
        </p:spPr>
        <p:txBody>
          <a:bodyPr>
            <a:noAutofit/>
          </a:bodyPr>
          <a:lstStyle>
            <a:lvl1pPr marL="0">
              <a:lnSpc>
                <a:spcPct val="95000"/>
              </a:lnSpc>
              <a:spcBef>
                <a:spcPts val="0"/>
              </a:spcBef>
              <a:buFontTx/>
              <a:buNone/>
              <a:defRPr sz="2000" i="1">
                <a:solidFill>
                  <a:schemeClr val="tx1"/>
                </a:solidFill>
                <a:latin typeface="+mj-lt"/>
              </a:defRPr>
            </a:lvl1pPr>
            <a:lvl2pPr marL="0" indent="0">
              <a:lnSpc>
                <a:spcPct val="95000"/>
              </a:lnSpc>
              <a:spcBef>
                <a:spcPts val="0"/>
              </a:spcBef>
              <a:buFontTx/>
              <a:buNone/>
              <a:defRPr sz="2000" i="1">
                <a:solidFill>
                  <a:schemeClr val="tx1"/>
                </a:solidFill>
                <a:latin typeface="+mj-lt"/>
              </a:defRPr>
            </a:lvl2pPr>
            <a:lvl3pPr marL="0" indent="0">
              <a:lnSpc>
                <a:spcPct val="95000"/>
              </a:lnSpc>
              <a:spcBef>
                <a:spcPts val="0"/>
              </a:spcBef>
              <a:buFontTx/>
              <a:buNone/>
              <a:defRPr sz="1800" i="1">
                <a:solidFill>
                  <a:schemeClr val="tx1"/>
                </a:solidFill>
                <a:latin typeface="+mj-lt"/>
              </a:defRPr>
            </a:lvl3pPr>
            <a:lvl4pPr marL="0" indent="0">
              <a:lnSpc>
                <a:spcPct val="95000"/>
              </a:lnSpc>
              <a:spcBef>
                <a:spcPts val="0"/>
              </a:spcBef>
              <a:buFontTx/>
              <a:buNone/>
              <a:defRPr sz="1600" i="1">
                <a:solidFill>
                  <a:schemeClr val="tx1"/>
                </a:solidFill>
                <a:latin typeface="+mj-lt"/>
              </a:defRPr>
            </a:lvl4pPr>
            <a:lvl5pPr marL="0" indent="0">
              <a:lnSpc>
                <a:spcPct val="95000"/>
              </a:lnSpc>
              <a:spcBef>
                <a:spcPts val="0"/>
              </a:spcBef>
              <a:buFontTx/>
              <a:buNone/>
              <a:defRPr sz="1600" i="1">
                <a:solidFill>
                  <a:schemeClr val="tx1"/>
                </a:solidFill>
                <a:latin typeface="+mj-lt"/>
              </a:defRPr>
            </a:lvl5pPr>
            <a:lvl6pPr marL="0" indent="0">
              <a:lnSpc>
                <a:spcPct val="95000"/>
              </a:lnSpc>
              <a:spcBef>
                <a:spcPts val="0"/>
              </a:spcBef>
              <a:buFontTx/>
              <a:buNone/>
              <a:defRPr sz="1600" i="1">
                <a:solidFill>
                  <a:schemeClr val="tx1"/>
                </a:solidFill>
                <a:latin typeface="+mj-lt"/>
              </a:defRPr>
            </a:lvl6pPr>
            <a:lvl7pPr marL="0">
              <a:lnSpc>
                <a:spcPct val="95000"/>
              </a:lnSpc>
              <a:spcBef>
                <a:spcPts val="0"/>
              </a:spcBef>
              <a:buFontTx/>
              <a:buNone/>
              <a:defRPr sz="1600" i="1">
                <a:solidFill>
                  <a:schemeClr val="tx1"/>
                </a:solidFill>
                <a:latin typeface="+mj-lt"/>
              </a:defRPr>
            </a:lvl7pPr>
            <a:lvl8pPr marL="0">
              <a:lnSpc>
                <a:spcPct val="95000"/>
              </a:lnSpc>
              <a:spcBef>
                <a:spcPts val="0"/>
              </a:spcBef>
              <a:buFontTx/>
              <a:buNone/>
              <a:defRPr sz="1600" i="1">
                <a:solidFill>
                  <a:schemeClr val="tx1"/>
                </a:solidFill>
                <a:latin typeface="+mj-lt"/>
              </a:defRPr>
            </a:lvl8pPr>
            <a:lvl9pPr marL="0">
              <a:lnSpc>
                <a:spcPct val="95000"/>
              </a:lnSpc>
              <a:spcBef>
                <a:spcPts val="0"/>
              </a:spcBef>
              <a:buFontTx/>
              <a:buNone/>
              <a:defRPr sz="16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6184901" y="1259999"/>
            <a:ext cx="2217636" cy="482274"/>
          </a:xfrm>
          <a:prstGeom prst="roundRect">
            <a:avLst>
              <a:gd name="adj" fmla="val 50000"/>
            </a:avLst>
          </a:prstGeom>
          <a:solidFill>
            <a:schemeClr val="accent2"/>
          </a:solidFill>
        </p:spPr>
        <p:txBody>
          <a:bodyPr wrap="none" lIns="72000" tIns="54000" rIns="72000" bIns="54000" anchor="ctr" anchorCtr="0">
            <a:spAutoFit/>
          </a:bodyPr>
          <a:lstStyle>
            <a:lvl1pPr marL="0" indent="0">
              <a:lnSpc>
                <a:spcPct val="95000"/>
              </a:lnSpc>
              <a:spcBef>
                <a:spcPts val="0"/>
              </a:spcBef>
              <a:buFont typeface="Arial" panose="020B0604020202020204" pitchFamily="34" charset="0"/>
              <a:buNone/>
              <a:defRPr sz="1600" i="1">
                <a:solidFill>
                  <a:schemeClr val="tx1"/>
                </a:solidFill>
                <a:latin typeface="+mj-lt"/>
              </a:defRPr>
            </a:lvl1pPr>
            <a:lvl2pPr marL="0" indent="0">
              <a:lnSpc>
                <a:spcPct val="95000"/>
              </a:lnSpc>
              <a:spcBef>
                <a:spcPts val="0"/>
              </a:spcBef>
              <a:buNone/>
              <a:defRPr sz="1600" i="1">
                <a:solidFill>
                  <a:schemeClr val="tx1"/>
                </a:solidFill>
                <a:latin typeface="+mj-lt"/>
              </a:defRPr>
            </a:lvl2pPr>
            <a:lvl3pPr marL="0" indent="0">
              <a:lnSpc>
                <a:spcPct val="95000"/>
              </a:lnSpc>
              <a:spcBef>
                <a:spcPts val="0"/>
              </a:spcBef>
              <a:buNone/>
              <a:defRPr sz="1600" i="1">
                <a:solidFill>
                  <a:schemeClr val="tx1"/>
                </a:solidFill>
                <a:latin typeface="+mj-lt"/>
              </a:defRPr>
            </a:lvl3pPr>
            <a:lvl4pPr marL="0" indent="0">
              <a:lnSpc>
                <a:spcPct val="95000"/>
              </a:lnSpc>
              <a:spcBef>
                <a:spcPts val="0"/>
              </a:spcBef>
              <a:buNone/>
              <a:defRPr sz="1600" i="1">
                <a:solidFill>
                  <a:schemeClr val="tx1"/>
                </a:solidFill>
                <a:latin typeface="+mj-lt"/>
              </a:defRPr>
            </a:lvl4pPr>
            <a:lvl5pPr marL="0" indent="0">
              <a:lnSpc>
                <a:spcPct val="95000"/>
              </a:lnSpc>
              <a:spcBef>
                <a:spcPts val="0"/>
              </a:spcBef>
              <a:buFont typeface="Arial" panose="020B0604020202020204" pitchFamily="34" charset="0"/>
              <a:buNone/>
              <a:defRPr sz="1600" i="1">
                <a:solidFill>
                  <a:schemeClr val="tx1"/>
                </a:solidFill>
                <a:latin typeface="+mj-lt"/>
              </a:defRPr>
            </a:lvl5pPr>
            <a:lvl6pPr marL="0" indent="0">
              <a:lnSpc>
                <a:spcPct val="95000"/>
              </a:lnSpc>
              <a:spcBef>
                <a:spcPts val="0"/>
              </a:spcBef>
              <a:buFont typeface="Arial" panose="020B0604020202020204" pitchFamily="34" charset="0"/>
              <a:buNone/>
              <a:defRPr sz="1600" i="1">
                <a:solidFill>
                  <a:schemeClr val="tx1"/>
                </a:solidFill>
                <a:latin typeface="+mj-lt"/>
              </a:defRPr>
            </a:lvl6pPr>
            <a:lvl7pPr marL="0" indent="0">
              <a:lnSpc>
                <a:spcPct val="95000"/>
              </a:lnSpc>
              <a:spcBef>
                <a:spcPts val="0"/>
              </a:spcBef>
              <a:buFont typeface="Arial" panose="020B0604020202020204" pitchFamily="34" charset="0"/>
              <a:buNone/>
              <a:defRPr sz="1600" i="1">
                <a:solidFill>
                  <a:schemeClr val="tx1"/>
                </a:solidFill>
                <a:latin typeface="+mj-lt"/>
              </a:defRPr>
            </a:lvl7pPr>
            <a:lvl8pPr marL="0" indent="0">
              <a:lnSpc>
                <a:spcPct val="95000"/>
              </a:lnSpc>
              <a:spcBef>
                <a:spcPts val="0"/>
              </a:spcBef>
              <a:buFont typeface="Arial" panose="020B0604020202020204" pitchFamily="34" charset="0"/>
              <a:buNone/>
              <a:defRPr sz="1600" i="1">
                <a:solidFill>
                  <a:schemeClr val="tx1"/>
                </a:solidFill>
                <a:latin typeface="+mj-lt"/>
              </a:defRPr>
            </a:lvl8pPr>
            <a:lvl9pPr marL="0" indent="0">
              <a:lnSpc>
                <a:spcPct val="95000"/>
              </a:lnSpc>
              <a:spcBef>
                <a:spcPts val="0"/>
              </a:spcBef>
              <a:buFont typeface="Arial" panose="020B0604020202020204" pitchFamily="34" charset="0"/>
              <a:buNone/>
              <a:defRPr sz="1600" i="1">
                <a:solidFill>
                  <a:schemeClr val="tx1"/>
                </a:solidFill>
                <a:latin typeface="+mj-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6184901" y="1922273"/>
            <a:ext cx="5286374" cy="468000"/>
          </a:xfrm>
        </p:spPr>
        <p:txBody>
          <a:bodyPr>
            <a:noAutofit/>
          </a:bodyPr>
          <a:lstStyle>
            <a:lvl1pPr marL="0" indent="0">
              <a:lnSpc>
                <a:spcPct val="95000"/>
              </a:lnSpc>
              <a:spcBef>
                <a:spcPts val="300"/>
              </a:spcBef>
              <a:buFont typeface="Arial" panose="020B0604020202020204" pitchFamily="34" charset="0"/>
              <a:buNone/>
              <a:defRPr sz="1400">
                <a:solidFill>
                  <a:schemeClr val="tx1"/>
                </a:solidFill>
                <a:latin typeface="+mn-lt"/>
              </a:defRPr>
            </a:lvl1pPr>
            <a:lvl2pPr marL="0" indent="0">
              <a:lnSpc>
                <a:spcPct val="95000"/>
              </a:lnSpc>
              <a:spcBef>
                <a:spcPts val="300"/>
              </a:spcBef>
              <a:buNone/>
              <a:defRPr sz="1200">
                <a:solidFill>
                  <a:schemeClr val="tx1"/>
                </a:solidFill>
                <a:latin typeface="+mn-lt"/>
              </a:defRPr>
            </a:lvl2pPr>
            <a:lvl3pPr marL="0" indent="0">
              <a:lnSpc>
                <a:spcPct val="95000"/>
              </a:lnSpc>
              <a:spcBef>
                <a:spcPts val="300"/>
              </a:spcBef>
              <a:buNone/>
              <a:defRPr sz="1100">
                <a:solidFill>
                  <a:schemeClr val="tx1"/>
                </a:solidFill>
                <a:latin typeface="+mn-lt"/>
              </a:defRPr>
            </a:lvl3pPr>
            <a:lvl4pPr marL="0" indent="0">
              <a:lnSpc>
                <a:spcPct val="95000"/>
              </a:lnSpc>
              <a:spcBef>
                <a:spcPts val="300"/>
              </a:spcBef>
              <a:buNone/>
              <a:defRPr sz="1100">
                <a:solidFill>
                  <a:schemeClr val="tx1"/>
                </a:solidFill>
                <a:latin typeface="+mn-lt"/>
              </a:defRPr>
            </a:lvl4pPr>
            <a:lvl5pPr marL="0" indent="0">
              <a:lnSpc>
                <a:spcPct val="95000"/>
              </a:lnSpc>
              <a:spcBef>
                <a:spcPts val="300"/>
              </a:spcBef>
              <a:buFont typeface="Arial" panose="020B0604020202020204" pitchFamily="34" charset="0"/>
              <a:buNone/>
              <a:defRPr sz="1100">
                <a:solidFill>
                  <a:schemeClr val="tx1"/>
                </a:solidFill>
                <a:latin typeface="+mn-lt"/>
              </a:defRPr>
            </a:lvl5pPr>
            <a:lvl6pPr marL="0" indent="0">
              <a:lnSpc>
                <a:spcPct val="95000"/>
              </a:lnSpc>
              <a:spcBef>
                <a:spcPts val="300"/>
              </a:spcBef>
              <a:buFont typeface="Arial" panose="020B0604020202020204" pitchFamily="34" charset="0"/>
              <a:buNone/>
              <a:defRPr sz="1100">
                <a:solidFill>
                  <a:schemeClr val="tx1"/>
                </a:solidFill>
                <a:latin typeface="+mn-lt"/>
              </a:defRPr>
            </a:lvl6pPr>
            <a:lvl7pPr marL="0" indent="0">
              <a:lnSpc>
                <a:spcPct val="95000"/>
              </a:lnSpc>
              <a:spcBef>
                <a:spcPts val="300"/>
              </a:spcBef>
              <a:buFont typeface="Arial" panose="020B0604020202020204" pitchFamily="34" charset="0"/>
              <a:buNone/>
              <a:defRPr sz="1100">
                <a:solidFill>
                  <a:schemeClr val="tx1"/>
                </a:solidFill>
                <a:latin typeface="+mn-lt"/>
              </a:defRPr>
            </a:lvl7pPr>
            <a:lvl8pPr marL="0" indent="0">
              <a:lnSpc>
                <a:spcPct val="95000"/>
              </a:lnSpc>
              <a:spcBef>
                <a:spcPts val="300"/>
              </a:spcBef>
              <a:buFont typeface="Arial" panose="020B0604020202020204" pitchFamily="34" charset="0"/>
              <a:buNone/>
              <a:defRPr sz="1100">
                <a:solidFill>
                  <a:schemeClr val="tx1"/>
                </a:solidFill>
                <a:latin typeface="+mn-lt"/>
              </a:defRPr>
            </a:lvl8pPr>
            <a:lvl9pPr marL="0" indent="0">
              <a:lnSpc>
                <a:spcPct val="95000"/>
              </a:lnSpc>
              <a:spcBef>
                <a:spcPts val="300"/>
              </a:spcBef>
              <a:buFont typeface="Arial" panose="020B0604020202020204" pitchFamily="34" charset="0"/>
              <a:buNone/>
              <a:defRPr sz="11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6184901" y="2570273"/>
            <a:ext cx="5286374" cy="3567002"/>
          </a:xfrm>
        </p:spPr>
        <p:txBody>
          <a:bodyPr vert="horz" lIns="0" tIns="0" rIns="0" bIns="0" rtlCol="0">
            <a:normAutofit/>
          </a:bodyPr>
          <a:lstStyle>
            <a:lvl1pPr>
              <a:defRPr lang="en-US" dirty="0"/>
            </a:lvl1pPr>
            <a:lvl2pPr>
              <a:defRPr lang="en-US" dirty="0"/>
            </a:lvl2pPr>
            <a:lvl3pPr>
              <a:defRPr lang="en-US" dirty="0"/>
            </a:lvl3pPr>
            <a:lvl4pPr>
              <a:defRPr lang="en-US" dirty="0"/>
            </a:lvl4pPr>
            <a:lvl5pPr marL="0" indent="0">
              <a:lnSpc>
                <a:spcPct val="95000"/>
              </a:lnSpc>
              <a:spcBef>
                <a:spcPts val="800"/>
              </a:spcBef>
              <a:buFont typeface="Arial" panose="020B0604020202020204" pitchFamily="34" charset="0"/>
              <a:buNone/>
              <a:defRPr lang="en-US" sz="1600" dirty="0">
                <a:solidFill>
                  <a:schemeClr val="tx2"/>
                </a:solidFill>
                <a:latin typeface="+mn-lt"/>
              </a:defRPr>
            </a:lvl5pPr>
            <a:lvl6pPr marL="0" indent="0">
              <a:lnSpc>
                <a:spcPct val="95000"/>
              </a:lnSpc>
              <a:spcBef>
                <a:spcPts val="800"/>
              </a:spcBef>
              <a:buFont typeface="Arial" panose="020B0604020202020204" pitchFamily="34" charset="0"/>
              <a:buNone/>
              <a:defRPr lang="en-US" sz="1600" dirty="0">
                <a:solidFill>
                  <a:schemeClr val="tx1"/>
                </a:solidFill>
                <a:latin typeface="+mn-lt"/>
              </a:defRPr>
            </a:lvl6pPr>
            <a:lvl7pPr marL="0" indent="0">
              <a:lnSpc>
                <a:spcPct val="95000"/>
              </a:lnSpc>
              <a:spcBef>
                <a:spcPts val="800"/>
              </a:spcBef>
              <a:buFont typeface="Arial" panose="020B0604020202020204" pitchFamily="34" charset="0"/>
              <a:buNone/>
              <a:defRPr lang="en-US" sz="1600" dirty="0">
                <a:solidFill>
                  <a:schemeClr val="tx1"/>
                </a:solidFill>
                <a:latin typeface="+mn-lt"/>
              </a:defRPr>
            </a:lvl7pPr>
            <a:lvl8pPr marL="0" indent="0">
              <a:lnSpc>
                <a:spcPct val="95000"/>
              </a:lnSpc>
              <a:spcBef>
                <a:spcPts val="800"/>
              </a:spcBef>
              <a:buFont typeface="Arial" panose="020B0604020202020204" pitchFamily="34" charset="0"/>
              <a:buNone/>
              <a:defRPr lang="en-US" sz="1600" dirty="0">
                <a:solidFill>
                  <a:schemeClr val="tx1"/>
                </a:solidFill>
                <a:latin typeface="+mn-lt"/>
              </a:defRPr>
            </a:lvl8pPr>
            <a:lvl9pPr marL="0" indent="0">
              <a:lnSpc>
                <a:spcPct val="95000"/>
              </a:lnSpc>
              <a:spcBef>
                <a:spcPts val="800"/>
              </a:spcBef>
              <a:buFont typeface="Arial" panose="020B0604020202020204" pitchFamily="34" charset="0"/>
              <a:buNone/>
              <a:defRPr lang="en-GB" sz="1600" dirty="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16" name="Text Quotation 1">
            <a:extLst>
              <a:ext uri="{FF2B5EF4-FFF2-40B4-BE49-F238E27FC236}">
                <a16:creationId xmlns:a16="http://schemas.microsoft.com/office/drawing/2014/main" id="{6AD1114A-9EDA-479C-ACC6-49277F39F273}"/>
              </a:ext>
            </a:extLst>
          </p:cNvPr>
          <p:cNvSpPr>
            <a:spLocks noGrp="1"/>
          </p:cNvSpPr>
          <p:nvPr>
            <p:ph type="body" sz="quarter" idx="22" hasCustomPrompt="1"/>
          </p:nvPr>
        </p:nvSpPr>
        <p:spPr>
          <a:xfrm>
            <a:off x="2541588" y="3039291"/>
            <a:ext cx="2552700" cy="2504577"/>
          </a:xfrm>
        </p:spPr>
        <p:txBody>
          <a:bodyPr/>
          <a:lstStyle>
            <a:lvl1pPr marL="0" indent="0">
              <a:lnSpc>
                <a:spcPct val="90000"/>
              </a:lnSpc>
              <a:buFont typeface="Arial" panose="020B0604020202020204" pitchFamily="34" charset="0"/>
              <a:buNone/>
              <a:defRPr sz="2000" i="1">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9" name="Quote Icon">
            <a:extLst>
              <a:ext uri="{FF2B5EF4-FFF2-40B4-BE49-F238E27FC236}">
                <a16:creationId xmlns:a16="http://schemas.microsoft.com/office/drawing/2014/main" id="{7DB0792E-7D00-4D1D-9A1F-8330DCE1DB7A}"/>
              </a:ext>
            </a:extLst>
          </p:cNvPr>
          <p:cNvSpPr>
            <a:spLocks noGrp="1" noChangeAspect="1"/>
          </p:cNvSpPr>
          <p:nvPr>
            <p:ph type="body" sz="quarter" idx="23" hasCustomPrompt="1"/>
          </p:nvPr>
        </p:nvSpPr>
        <p:spPr>
          <a:xfrm>
            <a:off x="1820613" y="3039291"/>
            <a:ext cx="540000" cy="540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3252047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Bio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274"/>
            <a:ext cx="2160000" cy="14400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3488716"/>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719137"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6184900" y="1565274"/>
            <a:ext cx="2160000" cy="14400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6184900"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6184900" y="3488716"/>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6184900"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Bio Description 2">
            <a:extLst>
              <a:ext uri="{FF2B5EF4-FFF2-40B4-BE49-F238E27FC236}">
                <a16:creationId xmlns:a16="http://schemas.microsoft.com/office/drawing/2014/main" id="{546D1641-B818-46C5-869C-6A568D01E42F}"/>
              </a:ext>
            </a:extLst>
          </p:cNvPr>
          <p:cNvSpPr>
            <a:spLocks noGrp="1"/>
          </p:cNvSpPr>
          <p:nvPr>
            <p:ph type="body" sz="quarter" idx="26" hasCustomPrompt="1"/>
          </p:nvPr>
        </p:nvSpPr>
        <p:spPr>
          <a:xfrm>
            <a:off x="6184900"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grpSp>
        <p:nvGrpSpPr>
          <p:cNvPr id="15" name="Group 14">
            <a:extLst>
              <a:ext uri="{FF2B5EF4-FFF2-40B4-BE49-F238E27FC236}">
                <a16:creationId xmlns:a16="http://schemas.microsoft.com/office/drawing/2014/main" id="{399CD1D3-3D7B-4175-B9B5-AABE6DAC6948}"/>
              </a:ext>
            </a:extLst>
          </p:cNvPr>
          <p:cNvGrpSpPr/>
          <p:nvPr userDrawn="1"/>
        </p:nvGrpSpPr>
        <p:grpSpPr>
          <a:xfrm>
            <a:off x="6894610" y="0"/>
            <a:ext cx="5298532" cy="1803399"/>
            <a:chOff x="6894610" y="0"/>
            <a:chExt cx="5298532" cy="1803399"/>
          </a:xfrm>
        </p:grpSpPr>
        <p:sp>
          <p:nvSpPr>
            <p:cNvPr id="10" name="Freeform: Shape 9">
              <a:extLst>
                <a:ext uri="{FF2B5EF4-FFF2-40B4-BE49-F238E27FC236}">
                  <a16:creationId xmlns:a16="http://schemas.microsoft.com/office/drawing/2014/main" id="{52AD3346-80C8-4504-B648-AD22AA2F3ACF}"/>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EB68B2B-7333-44EE-A6A3-9DD6B717F52E}"/>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rgbClr val="9EDED4"/>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215859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m Bio 6">
    <p:spTree>
      <p:nvGrpSpPr>
        <p:cNvPr id="1" name=""/>
        <p:cNvGrpSpPr/>
        <p:nvPr/>
      </p:nvGrpSpPr>
      <p:grpSpPr>
        <a:xfrm>
          <a:off x="0" y="0"/>
          <a:ext cx="0" cy="0"/>
          <a:chOff x="0" y="0"/>
          <a:chExt cx="0" cy="0"/>
        </a:xfrm>
      </p:grpSpPr>
      <p:sp>
        <p:nvSpPr>
          <p:cNvPr id="47" name="Picture Placeholder 4">
            <a:extLst>
              <a:ext uri="{FF2B5EF4-FFF2-40B4-BE49-F238E27FC236}">
                <a16:creationId xmlns:a16="http://schemas.microsoft.com/office/drawing/2014/main" id="{FFFFCC4A-5EB9-407D-97EE-22A1FAEF4BB1}"/>
              </a:ext>
            </a:extLst>
          </p:cNvPr>
          <p:cNvSpPr>
            <a:spLocks noGrp="1" noChangeAspect="1"/>
          </p:cNvSpPr>
          <p:nvPr>
            <p:ph type="pic" sz="quarter" idx="31"/>
          </p:nvPr>
        </p:nvSpPr>
        <p:spPr>
          <a:xfrm>
            <a:off x="719137" y="3997256"/>
            <a:ext cx="1366200" cy="910800"/>
          </a:xfrm>
          <a:solidFill>
            <a:schemeClr val="bg2"/>
          </a:solidFill>
        </p:spPr>
        <p:txBody>
          <a:bodyPr/>
          <a:lstStyle/>
          <a:p>
            <a:r>
              <a:rPr lang="en-US"/>
              <a:t>Click icon to add picture</a:t>
            </a:r>
            <a:endParaRPr lang="en-GB" dirty="0"/>
          </a:p>
        </p:txBody>
      </p:sp>
      <p:sp>
        <p:nvSpPr>
          <p:cNvPr id="52" name="Name Placeholder 4">
            <a:extLst>
              <a:ext uri="{FF2B5EF4-FFF2-40B4-BE49-F238E27FC236}">
                <a16:creationId xmlns:a16="http://schemas.microsoft.com/office/drawing/2014/main" id="{81FE4BB9-8A23-4971-A551-0843CC4135B4}"/>
              </a:ext>
            </a:extLst>
          </p:cNvPr>
          <p:cNvSpPr>
            <a:spLocks noGrp="1"/>
          </p:cNvSpPr>
          <p:nvPr>
            <p:ph type="body" sz="quarter" idx="32" hasCustomPrompt="1"/>
          </p:nvPr>
        </p:nvSpPr>
        <p:spPr>
          <a:xfrm>
            <a:off x="719137" y="5016056"/>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3" name="Job Title 4">
            <a:extLst>
              <a:ext uri="{FF2B5EF4-FFF2-40B4-BE49-F238E27FC236}">
                <a16:creationId xmlns:a16="http://schemas.microsoft.com/office/drawing/2014/main" id="{6FB8DF09-CA51-4CE6-AA75-72F870FB85D4}"/>
              </a:ext>
            </a:extLst>
          </p:cNvPr>
          <p:cNvSpPr>
            <a:spLocks noGrp="1"/>
          </p:cNvSpPr>
          <p:nvPr>
            <p:ph type="body" sz="quarter" idx="33" hasCustomPrompt="1"/>
          </p:nvPr>
        </p:nvSpPr>
        <p:spPr>
          <a:xfrm>
            <a:off x="719137" y="5412056"/>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4" name="Contact Details 4">
            <a:extLst>
              <a:ext uri="{FF2B5EF4-FFF2-40B4-BE49-F238E27FC236}">
                <a16:creationId xmlns:a16="http://schemas.microsoft.com/office/drawing/2014/main" id="{3EB728E6-1CBC-4703-BCC2-7BA00104160C}"/>
              </a:ext>
            </a:extLst>
          </p:cNvPr>
          <p:cNvSpPr>
            <a:spLocks noGrp="1"/>
          </p:cNvSpPr>
          <p:nvPr>
            <p:ph type="body" sz="quarter" idx="34" hasCustomPrompt="1"/>
          </p:nvPr>
        </p:nvSpPr>
        <p:spPr>
          <a:xfrm>
            <a:off x="719137" y="5817865"/>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5" name="Picture Placeholder 5">
            <a:extLst>
              <a:ext uri="{FF2B5EF4-FFF2-40B4-BE49-F238E27FC236}">
                <a16:creationId xmlns:a16="http://schemas.microsoft.com/office/drawing/2014/main" id="{879E3977-0FEE-46FC-820F-2B21ED7103C9}"/>
              </a:ext>
            </a:extLst>
          </p:cNvPr>
          <p:cNvSpPr>
            <a:spLocks noGrp="1" noChangeAspect="1"/>
          </p:cNvSpPr>
          <p:nvPr>
            <p:ph type="pic" sz="quarter" idx="35"/>
          </p:nvPr>
        </p:nvSpPr>
        <p:spPr>
          <a:xfrm>
            <a:off x="4364038" y="4001155"/>
            <a:ext cx="1366200" cy="910800"/>
          </a:xfrm>
          <a:solidFill>
            <a:schemeClr val="bg2"/>
          </a:solidFill>
        </p:spPr>
        <p:txBody>
          <a:bodyPr/>
          <a:lstStyle/>
          <a:p>
            <a:r>
              <a:rPr lang="en-US"/>
              <a:t>Click icon to add picture</a:t>
            </a:r>
            <a:endParaRPr lang="en-GB" dirty="0"/>
          </a:p>
        </p:txBody>
      </p:sp>
      <p:sp>
        <p:nvSpPr>
          <p:cNvPr id="56" name="Name Placeholder 5">
            <a:extLst>
              <a:ext uri="{FF2B5EF4-FFF2-40B4-BE49-F238E27FC236}">
                <a16:creationId xmlns:a16="http://schemas.microsoft.com/office/drawing/2014/main" id="{4DD93172-4F19-45F9-AB3C-0D32428D33BF}"/>
              </a:ext>
            </a:extLst>
          </p:cNvPr>
          <p:cNvSpPr>
            <a:spLocks noGrp="1"/>
          </p:cNvSpPr>
          <p:nvPr>
            <p:ph type="body" sz="quarter" idx="36" hasCustomPrompt="1"/>
          </p:nvPr>
        </p:nvSpPr>
        <p:spPr>
          <a:xfrm>
            <a:off x="4364038"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7" name="Job Title 5">
            <a:extLst>
              <a:ext uri="{FF2B5EF4-FFF2-40B4-BE49-F238E27FC236}">
                <a16:creationId xmlns:a16="http://schemas.microsoft.com/office/drawing/2014/main" id="{A3D19A47-4337-4F39-9834-87D7BAD04FA9}"/>
              </a:ext>
            </a:extLst>
          </p:cNvPr>
          <p:cNvSpPr>
            <a:spLocks noGrp="1"/>
          </p:cNvSpPr>
          <p:nvPr>
            <p:ph type="body" sz="quarter" idx="37" hasCustomPrompt="1"/>
          </p:nvPr>
        </p:nvSpPr>
        <p:spPr>
          <a:xfrm>
            <a:off x="4364038" y="5395823"/>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8" name="Contact Details 5">
            <a:extLst>
              <a:ext uri="{FF2B5EF4-FFF2-40B4-BE49-F238E27FC236}">
                <a16:creationId xmlns:a16="http://schemas.microsoft.com/office/drawing/2014/main" id="{900086A4-8295-427F-99DF-31DAD9889407}"/>
              </a:ext>
            </a:extLst>
          </p:cNvPr>
          <p:cNvSpPr>
            <a:spLocks noGrp="1"/>
          </p:cNvSpPr>
          <p:nvPr>
            <p:ph type="body" sz="quarter" idx="38" hasCustomPrompt="1"/>
          </p:nvPr>
        </p:nvSpPr>
        <p:spPr>
          <a:xfrm>
            <a:off x="4364038"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9" name="Picture Placeholder 6">
            <a:extLst>
              <a:ext uri="{FF2B5EF4-FFF2-40B4-BE49-F238E27FC236}">
                <a16:creationId xmlns:a16="http://schemas.microsoft.com/office/drawing/2014/main" id="{758D5642-E56B-4C4F-BD98-E87D6EB12962}"/>
              </a:ext>
            </a:extLst>
          </p:cNvPr>
          <p:cNvSpPr>
            <a:spLocks noGrp="1" noChangeAspect="1"/>
          </p:cNvSpPr>
          <p:nvPr>
            <p:ph type="pic" sz="quarter" idx="39"/>
          </p:nvPr>
        </p:nvSpPr>
        <p:spPr>
          <a:xfrm>
            <a:off x="8008939" y="4001155"/>
            <a:ext cx="1366200" cy="910800"/>
          </a:xfrm>
          <a:solidFill>
            <a:schemeClr val="bg2"/>
          </a:solidFill>
        </p:spPr>
        <p:txBody>
          <a:bodyPr/>
          <a:lstStyle/>
          <a:p>
            <a:r>
              <a:rPr lang="en-US"/>
              <a:t>Click icon to add picture</a:t>
            </a:r>
            <a:endParaRPr lang="en-GB" dirty="0"/>
          </a:p>
        </p:txBody>
      </p:sp>
      <p:sp>
        <p:nvSpPr>
          <p:cNvPr id="60" name="Name Placeholder 6">
            <a:extLst>
              <a:ext uri="{FF2B5EF4-FFF2-40B4-BE49-F238E27FC236}">
                <a16:creationId xmlns:a16="http://schemas.microsoft.com/office/drawing/2014/main" id="{62BC04E0-B094-4F2E-A4D4-A68642592CB7}"/>
              </a:ext>
            </a:extLst>
          </p:cNvPr>
          <p:cNvSpPr>
            <a:spLocks noGrp="1"/>
          </p:cNvSpPr>
          <p:nvPr>
            <p:ph type="body" sz="quarter" idx="40" hasCustomPrompt="1"/>
          </p:nvPr>
        </p:nvSpPr>
        <p:spPr>
          <a:xfrm>
            <a:off x="8008939"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61" name="Job Title 6">
            <a:extLst>
              <a:ext uri="{FF2B5EF4-FFF2-40B4-BE49-F238E27FC236}">
                <a16:creationId xmlns:a16="http://schemas.microsoft.com/office/drawing/2014/main" id="{4CD61B50-A333-417F-AB60-C160340391A8}"/>
              </a:ext>
            </a:extLst>
          </p:cNvPr>
          <p:cNvSpPr>
            <a:spLocks noGrp="1"/>
          </p:cNvSpPr>
          <p:nvPr>
            <p:ph type="body" sz="quarter" idx="41" hasCustomPrompt="1"/>
          </p:nvPr>
        </p:nvSpPr>
        <p:spPr>
          <a:xfrm>
            <a:off x="8008939" y="5395823"/>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62" name="Contact Details 6">
            <a:extLst>
              <a:ext uri="{FF2B5EF4-FFF2-40B4-BE49-F238E27FC236}">
                <a16:creationId xmlns:a16="http://schemas.microsoft.com/office/drawing/2014/main" id="{1A05B0D5-0358-4010-BDE0-FFE7305E079B}"/>
              </a:ext>
            </a:extLst>
          </p:cNvPr>
          <p:cNvSpPr>
            <a:spLocks noGrp="1"/>
          </p:cNvSpPr>
          <p:nvPr>
            <p:ph type="body" sz="quarter" idx="42" hasCustomPrompt="1"/>
          </p:nvPr>
        </p:nvSpPr>
        <p:spPr>
          <a:xfrm>
            <a:off x="8008939"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375"/>
            <a:ext cx="1366200" cy="9108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2980175"/>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4364038" y="1565375"/>
            <a:ext cx="1366200" cy="9108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4364038"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4364038" y="2980175"/>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4364038"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8" name="Picture Placeholder 3">
            <a:extLst>
              <a:ext uri="{FF2B5EF4-FFF2-40B4-BE49-F238E27FC236}">
                <a16:creationId xmlns:a16="http://schemas.microsoft.com/office/drawing/2014/main" id="{D376AA3C-4E82-4D08-9202-51469C989558}"/>
              </a:ext>
            </a:extLst>
          </p:cNvPr>
          <p:cNvSpPr>
            <a:spLocks noGrp="1" noChangeAspect="1"/>
          </p:cNvSpPr>
          <p:nvPr>
            <p:ph type="pic" sz="quarter" idx="27"/>
          </p:nvPr>
        </p:nvSpPr>
        <p:spPr>
          <a:xfrm>
            <a:off x="8008939" y="1565376"/>
            <a:ext cx="1366200" cy="910800"/>
          </a:xfrm>
          <a:solidFill>
            <a:schemeClr val="bg2"/>
          </a:solidFill>
        </p:spPr>
        <p:txBody>
          <a:bodyPr/>
          <a:lstStyle/>
          <a:p>
            <a:r>
              <a:rPr lang="en-US"/>
              <a:t>Click icon to add picture</a:t>
            </a:r>
            <a:endParaRPr lang="en-GB" dirty="0"/>
          </a:p>
        </p:txBody>
      </p:sp>
      <p:sp>
        <p:nvSpPr>
          <p:cNvPr id="49" name="Name Placeholder 3">
            <a:extLst>
              <a:ext uri="{FF2B5EF4-FFF2-40B4-BE49-F238E27FC236}">
                <a16:creationId xmlns:a16="http://schemas.microsoft.com/office/drawing/2014/main" id="{0B2DDA88-23CF-4A0E-BC64-8920EF581112}"/>
              </a:ext>
            </a:extLst>
          </p:cNvPr>
          <p:cNvSpPr>
            <a:spLocks noGrp="1"/>
          </p:cNvSpPr>
          <p:nvPr>
            <p:ph type="body" sz="quarter" idx="28" hasCustomPrompt="1"/>
          </p:nvPr>
        </p:nvSpPr>
        <p:spPr>
          <a:xfrm>
            <a:off x="8008939" y="2584602"/>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0" name="Job Title 3">
            <a:extLst>
              <a:ext uri="{FF2B5EF4-FFF2-40B4-BE49-F238E27FC236}">
                <a16:creationId xmlns:a16="http://schemas.microsoft.com/office/drawing/2014/main" id="{FF803BEF-346B-4A1E-9346-FD32D891CE7A}"/>
              </a:ext>
            </a:extLst>
          </p:cNvPr>
          <p:cNvSpPr>
            <a:spLocks noGrp="1"/>
          </p:cNvSpPr>
          <p:nvPr>
            <p:ph type="body" sz="quarter" idx="29" hasCustomPrompt="1"/>
          </p:nvPr>
        </p:nvSpPr>
        <p:spPr>
          <a:xfrm>
            <a:off x="8008939" y="2960044"/>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1" name="Contact Details 3">
            <a:extLst>
              <a:ext uri="{FF2B5EF4-FFF2-40B4-BE49-F238E27FC236}">
                <a16:creationId xmlns:a16="http://schemas.microsoft.com/office/drawing/2014/main" id="{39386C32-2455-497F-A545-94ED15C248D3}"/>
              </a:ext>
            </a:extLst>
          </p:cNvPr>
          <p:cNvSpPr>
            <a:spLocks noGrp="1"/>
          </p:cNvSpPr>
          <p:nvPr>
            <p:ph type="body" sz="quarter" idx="30" hasCustomPrompt="1"/>
          </p:nvPr>
        </p:nvSpPr>
        <p:spPr>
          <a:xfrm>
            <a:off x="8008939" y="334529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grpSp>
        <p:nvGrpSpPr>
          <p:cNvPr id="40" name="Group 39">
            <a:extLst>
              <a:ext uri="{FF2B5EF4-FFF2-40B4-BE49-F238E27FC236}">
                <a16:creationId xmlns:a16="http://schemas.microsoft.com/office/drawing/2014/main" id="{490D5149-31BE-41B9-A908-B92CCC4EFA13}"/>
              </a:ext>
            </a:extLst>
          </p:cNvPr>
          <p:cNvGrpSpPr/>
          <p:nvPr userDrawn="1"/>
        </p:nvGrpSpPr>
        <p:grpSpPr>
          <a:xfrm>
            <a:off x="6894610" y="0"/>
            <a:ext cx="5298532" cy="1803399"/>
            <a:chOff x="6894610" y="0"/>
            <a:chExt cx="5298532" cy="1803399"/>
          </a:xfrm>
        </p:grpSpPr>
        <p:sp>
          <p:nvSpPr>
            <p:cNvPr id="41" name="Freeform: Shape 40">
              <a:extLst>
                <a:ext uri="{FF2B5EF4-FFF2-40B4-BE49-F238E27FC236}">
                  <a16:creationId xmlns:a16="http://schemas.microsoft.com/office/drawing/2014/main" id="{3FA1111A-1FB1-4DAC-A008-B937A876EAB6}"/>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E30CC355-5F57-48F1-B6A8-94BED44F0FF4}"/>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5"/>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28819015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7355E78-E0F2-42FF-BDE9-9CC7C36E4A1A}"/>
              </a:ext>
            </a:extLst>
          </p:cNvPr>
          <p:cNvGrpSpPr/>
          <p:nvPr userDrawn="1"/>
        </p:nvGrpSpPr>
        <p:grpSpPr>
          <a:xfrm>
            <a:off x="5267706" y="0"/>
            <a:ext cx="6012052" cy="6857999"/>
            <a:chOff x="5267706" y="0"/>
            <a:chExt cx="6012052" cy="6857999"/>
          </a:xfrm>
        </p:grpSpPr>
        <p:sp>
          <p:nvSpPr>
            <p:cNvPr id="13" name="Freeform: Shape 12">
              <a:extLst>
                <a:ext uri="{FF2B5EF4-FFF2-40B4-BE49-F238E27FC236}">
                  <a16:creationId xmlns:a16="http://schemas.microsoft.com/office/drawing/2014/main" id="{28A40671-E776-46D6-86BE-DB1FE2B7BFED}"/>
                </a:ext>
              </a:extLst>
            </p:cNvPr>
            <p:cNvSpPr/>
            <p:nvPr/>
          </p:nvSpPr>
          <p:spPr>
            <a:xfrm>
              <a:off x="8913557" y="0"/>
              <a:ext cx="2366201"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0E5586-8A0A-48DB-92FC-522751AB95CC}"/>
                </a:ext>
              </a:extLst>
            </p:cNvPr>
            <p:cNvSpPr/>
            <p:nvPr/>
          </p:nvSpPr>
          <p:spPr>
            <a:xfrm>
              <a:off x="5267706" y="1648458"/>
              <a:ext cx="3901887"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solidFill>
                  <a:schemeClr val="tx1"/>
                </a:solidFill>
              </a:defRPr>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783355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89C16A-6873-4ED1-BBBE-86292872B1C9}"/>
              </a:ext>
            </a:extLst>
          </p:cNvPr>
          <p:cNvGrpSpPr/>
          <p:nvPr userDrawn="1"/>
        </p:nvGrpSpPr>
        <p:grpSpPr>
          <a:xfrm>
            <a:off x="4497704" y="0"/>
            <a:ext cx="7695438" cy="6857999"/>
            <a:chOff x="4497704" y="0"/>
            <a:chExt cx="7695438" cy="6857999"/>
          </a:xfrm>
        </p:grpSpPr>
        <p:sp>
          <p:nvSpPr>
            <p:cNvPr id="12" name="Freeform: Shape 11">
              <a:extLst>
                <a:ext uri="{FF2B5EF4-FFF2-40B4-BE49-F238E27FC236}">
                  <a16:creationId xmlns:a16="http://schemas.microsoft.com/office/drawing/2014/main" id="{A47784D4-F394-4298-980B-E1F707F7A347}"/>
                </a:ext>
              </a:extLst>
            </p:cNvPr>
            <p:cNvSpPr/>
            <p:nvPr/>
          </p:nvSpPr>
          <p:spPr>
            <a:xfrm>
              <a:off x="7431342" y="0"/>
              <a:ext cx="4761800" cy="4407534"/>
            </a:xfrm>
            <a:custGeom>
              <a:avLst/>
              <a:gdLst>
                <a:gd name="connsiteX0" fmla="*/ 443801 w 4761800"/>
                <a:gd name="connsiteY0" fmla="*/ 1671701 h 4407534"/>
                <a:gd name="connsiteX1" fmla="*/ 521905 w 4761800"/>
                <a:gd name="connsiteY1" fmla="*/ 2415540 h 4407534"/>
                <a:gd name="connsiteX2" fmla="*/ 16700 w 4761800"/>
                <a:gd name="connsiteY2" fmla="*/ 4209542 h 4407534"/>
                <a:gd name="connsiteX3" fmla="*/ 68833 w 4761800"/>
                <a:gd name="connsiteY3" fmla="*/ 4390835 h 4407534"/>
                <a:gd name="connsiteX4" fmla="*/ 250126 w 4761800"/>
                <a:gd name="connsiteY4" fmla="*/ 4338701 h 4407534"/>
                <a:gd name="connsiteX5" fmla="*/ 788860 w 4761800"/>
                <a:gd name="connsiteY5" fmla="*/ 2408301 h 4407534"/>
                <a:gd name="connsiteX6" fmla="*/ 728408 w 4761800"/>
                <a:gd name="connsiteY6" fmla="*/ 1713103 h 4407534"/>
                <a:gd name="connsiteX7" fmla="*/ 4761801 w 4761800"/>
                <a:gd name="connsiteY7" fmla="*/ 98806 h 4407534"/>
                <a:gd name="connsiteX8" fmla="*/ 4761801 w 4761800"/>
                <a:gd name="connsiteY8" fmla="*/ 0 h 4407534"/>
                <a:gd name="connsiteX9" fmla="*/ 4290758 w 4761800"/>
                <a:gd name="connsiteY9" fmla="*/ 0 h 4407534"/>
                <a:gd name="connsiteX10" fmla="*/ 521651 w 4761800"/>
                <a:gd name="connsiteY10" fmla="*/ 1508252 h 4407534"/>
                <a:gd name="connsiteX11" fmla="*/ 443800 w 4761800"/>
                <a:gd name="connsiteY11" fmla="*/ 1671701 h 440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1800" h="4407534">
                  <a:moveTo>
                    <a:pt x="443801" y="1671701"/>
                  </a:moveTo>
                  <a:cubicBezTo>
                    <a:pt x="444689" y="1674495"/>
                    <a:pt x="531558" y="1961134"/>
                    <a:pt x="521905" y="2415540"/>
                  </a:cubicBezTo>
                  <a:cubicBezTo>
                    <a:pt x="513142" y="2833751"/>
                    <a:pt x="418274" y="3484499"/>
                    <a:pt x="16700" y="4209542"/>
                  </a:cubicBezTo>
                  <a:cubicBezTo>
                    <a:pt x="-18966" y="4274001"/>
                    <a:pt x="4374" y="4355169"/>
                    <a:pt x="68833" y="4390835"/>
                  </a:cubicBezTo>
                  <a:cubicBezTo>
                    <a:pt x="133292" y="4426501"/>
                    <a:pt x="214459" y="4403160"/>
                    <a:pt x="250126" y="4338701"/>
                  </a:cubicBezTo>
                  <a:cubicBezTo>
                    <a:pt x="681164" y="3560445"/>
                    <a:pt x="780986" y="2859151"/>
                    <a:pt x="788860" y="2408301"/>
                  </a:cubicBezTo>
                  <a:cubicBezTo>
                    <a:pt x="794555" y="2175044"/>
                    <a:pt x="774280" y="1941876"/>
                    <a:pt x="728408" y="1713103"/>
                  </a:cubicBezTo>
                  <a:lnTo>
                    <a:pt x="4761801" y="98806"/>
                  </a:lnTo>
                  <a:lnTo>
                    <a:pt x="4761801" y="0"/>
                  </a:lnTo>
                  <a:lnTo>
                    <a:pt x="4290758" y="0"/>
                  </a:lnTo>
                  <a:lnTo>
                    <a:pt x="521651" y="1508252"/>
                  </a:lnTo>
                  <a:cubicBezTo>
                    <a:pt x="457116" y="1534169"/>
                    <a:pt x="423255" y="1605260"/>
                    <a:pt x="443800" y="1671701"/>
                  </a:cubicBezTo>
                  <a:close/>
                </a:path>
              </a:pathLst>
            </a:custGeom>
            <a:solidFill>
              <a:srgbClr val="FFFFFF"/>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3A0E4423-80C1-414C-BACB-F7E2E50EDCA4}"/>
                </a:ext>
              </a:extLst>
            </p:cNvPr>
            <p:cNvSpPr/>
            <p:nvPr/>
          </p:nvSpPr>
          <p:spPr>
            <a:xfrm>
              <a:off x="6216310" y="4138867"/>
              <a:ext cx="1482415" cy="1748472"/>
            </a:xfrm>
            <a:custGeom>
              <a:avLst/>
              <a:gdLst>
                <a:gd name="connsiteX0" fmla="*/ 133689 w 1482415"/>
                <a:gd name="connsiteY0" fmla="*/ 1748471 h 1748472"/>
                <a:gd name="connsiteX1" fmla="*/ 0 w 1482415"/>
                <a:gd name="connsiteY1" fmla="*/ 1615461 h 1748472"/>
                <a:gd name="connsiteX2" fmla="*/ 44789 w 1482415"/>
                <a:gd name="connsiteY2" fmla="*/ 1515426 h 1748472"/>
                <a:gd name="connsiteX3" fmla="*/ 1231350 w 1482415"/>
                <a:gd name="connsiteY3" fmla="*/ 70674 h 1748472"/>
                <a:gd name="connsiteX4" fmla="*/ 1411741 w 1482415"/>
                <a:gd name="connsiteY4" fmla="*/ 15688 h 1748472"/>
                <a:gd name="connsiteX5" fmla="*/ 1466728 w 1482415"/>
                <a:gd name="connsiteY5" fmla="*/ 196079 h 1748472"/>
                <a:gd name="connsiteX6" fmla="*/ 1464649 w 1482415"/>
                <a:gd name="connsiteY6" fmla="*/ 199833 h 1748472"/>
                <a:gd name="connsiteX7" fmla="*/ 222589 w 1482415"/>
                <a:gd name="connsiteY7" fmla="*/ 1714817 h 1748472"/>
                <a:gd name="connsiteX8" fmla="*/ 133689 w 1482415"/>
                <a:gd name="connsiteY8" fmla="*/ 1748471 h 1748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415" h="1748472">
                  <a:moveTo>
                    <a:pt x="133689" y="1748471"/>
                  </a:moveTo>
                  <a:cubicBezTo>
                    <a:pt x="60042" y="1748659"/>
                    <a:pt x="188" y="1689108"/>
                    <a:pt x="0" y="1615461"/>
                  </a:cubicBezTo>
                  <a:cubicBezTo>
                    <a:pt x="-97" y="1577238"/>
                    <a:pt x="16213" y="1540811"/>
                    <a:pt x="44789" y="1515426"/>
                  </a:cubicBezTo>
                  <a:cubicBezTo>
                    <a:pt x="549614" y="1066736"/>
                    <a:pt x="948902" y="580579"/>
                    <a:pt x="1231350" y="70674"/>
                  </a:cubicBezTo>
                  <a:cubicBezTo>
                    <a:pt x="1265980" y="5677"/>
                    <a:pt x="1346743" y="-18942"/>
                    <a:pt x="1411741" y="15688"/>
                  </a:cubicBezTo>
                  <a:cubicBezTo>
                    <a:pt x="1476739" y="50317"/>
                    <a:pt x="1501358" y="131081"/>
                    <a:pt x="1466728" y="196079"/>
                  </a:cubicBezTo>
                  <a:cubicBezTo>
                    <a:pt x="1466055" y="197341"/>
                    <a:pt x="1465362" y="198593"/>
                    <a:pt x="1464649" y="199833"/>
                  </a:cubicBezTo>
                  <a:cubicBezTo>
                    <a:pt x="1167977" y="736281"/>
                    <a:pt x="749893" y="1245932"/>
                    <a:pt x="222589" y="1714817"/>
                  </a:cubicBezTo>
                  <a:cubicBezTo>
                    <a:pt x="198134" y="1736637"/>
                    <a:pt x="166464" y="1748626"/>
                    <a:pt x="133689" y="1748471"/>
                  </a:cubicBezTo>
                  <a:close/>
                </a:path>
              </a:pathLst>
            </a:custGeom>
            <a:solidFill>
              <a:schemeClr val="accent3"/>
            </a:solid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A4B46DE-4394-48C9-B305-66DE751E2BD2}"/>
                </a:ext>
              </a:extLst>
            </p:cNvPr>
            <p:cNvSpPr/>
            <p:nvPr/>
          </p:nvSpPr>
          <p:spPr>
            <a:xfrm>
              <a:off x="4497704" y="5625924"/>
              <a:ext cx="1986201" cy="1232075"/>
            </a:xfrm>
            <a:custGeom>
              <a:avLst/>
              <a:gdLst>
                <a:gd name="connsiteX0" fmla="*/ 1952752 w 1986201"/>
                <a:gd name="connsiteY0" fmla="*/ 45006 h 1232075"/>
                <a:gd name="connsiteX1" fmla="*/ 1764538 w 1986201"/>
                <a:gd name="connsiteY1" fmla="*/ 33449 h 1232075"/>
                <a:gd name="connsiteX2" fmla="*/ 0 w 1986201"/>
                <a:gd name="connsiteY2" fmla="*/ 1232075 h 1232075"/>
                <a:gd name="connsiteX3" fmla="*/ 545211 w 1986201"/>
                <a:gd name="connsiteY3" fmla="*/ 1232075 h 1232075"/>
                <a:gd name="connsiteX4" fmla="*/ 1941195 w 1986201"/>
                <a:gd name="connsiteY4" fmla="*/ 233220 h 1232075"/>
                <a:gd name="connsiteX5" fmla="*/ 1952752 w 1986201"/>
                <a:gd name="connsiteY5" fmla="*/ 45006 h 123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201" h="1232075">
                  <a:moveTo>
                    <a:pt x="1952752" y="45006"/>
                  </a:moveTo>
                  <a:cubicBezTo>
                    <a:pt x="1903966" y="-10152"/>
                    <a:pt x="1819706" y="-15327"/>
                    <a:pt x="1764538" y="33449"/>
                  </a:cubicBezTo>
                  <a:cubicBezTo>
                    <a:pt x="1275715" y="465249"/>
                    <a:pt x="685673" y="865934"/>
                    <a:pt x="0" y="1232075"/>
                  </a:cubicBezTo>
                  <a:lnTo>
                    <a:pt x="545211" y="1232075"/>
                  </a:lnTo>
                  <a:cubicBezTo>
                    <a:pt x="1073700" y="921179"/>
                    <a:pt x="1539029" y="588228"/>
                    <a:pt x="1941195" y="233220"/>
                  </a:cubicBezTo>
                  <a:cubicBezTo>
                    <a:pt x="1996354" y="184434"/>
                    <a:pt x="2001528" y="100174"/>
                    <a:pt x="1952752" y="45006"/>
                  </a:cubicBezTo>
                  <a:close/>
                </a:path>
              </a:pathLst>
            </a:custGeom>
            <a:solidFill>
              <a:srgbClr val="005C82"/>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i="0">
                <a:solidFill>
                  <a:schemeClr val="tx2"/>
                </a:solidFill>
              </a:defRPr>
            </a:lvl7pPr>
            <a:lvl8pPr>
              <a:defRPr sz="3600" i="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41306715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5"/>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9A1C00-161F-4335-AD8A-90DFCB913095}"/>
              </a:ext>
            </a:extLst>
          </p:cNvPr>
          <p:cNvGrpSpPr/>
          <p:nvPr userDrawn="1"/>
        </p:nvGrpSpPr>
        <p:grpSpPr>
          <a:xfrm>
            <a:off x="0" y="3125464"/>
            <a:ext cx="12193143" cy="3180212"/>
            <a:chOff x="0" y="3125464"/>
            <a:chExt cx="12193143" cy="3180212"/>
          </a:xfrm>
        </p:grpSpPr>
        <p:sp>
          <p:nvSpPr>
            <p:cNvPr id="17" name="Freeform: Shape 16">
              <a:extLst>
                <a:ext uri="{FF2B5EF4-FFF2-40B4-BE49-F238E27FC236}">
                  <a16:creationId xmlns:a16="http://schemas.microsoft.com/office/drawing/2014/main" id="{42A97C56-4CF8-437C-A770-3ADADCEF832F}"/>
                </a:ext>
              </a:extLst>
            </p:cNvPr>
            <p:cNvSpPr/>
            <p:nvPr/>
          </p:nvSpPr>
          <p:spPr>
            <a:xfrm>
              <a:off x="5410804" y="3125464"/>
              <a:ext cx="6782339" cy="2336074"/>
            </a:xfrm>
            <a:custGeom>
              <a:avLst/>
              <a:gdLst>
                <a:gd name="connsiteX0" fmla="*/ 1703989 w 6782339"/>
                <a:gd name="connsiteY0" fmla="*/ 104018 h 2336074"/>
                <a:gd name="connsiteX1" fmla="*/ 1399189 w 6782339"/>
                <a:gd name="connsiteY1" fmla="*/ 787278 h 2336074"/>
                <a:gd name="connsiteX2" fmla="*/ 64674 w 6782339"/>
                <a:gd name="connsiteY2" fmla="*/ 2088393 h 2336074"/>
                <a:gd name="connsiteX3" fmla="*/ 19081 w 6782339"/>
                <a:gd name="connsiteY3" fmla="*/ 2271400 h 2336074"/>
                <a:gd name="connsiteX4" fmla="*/ 202088 w 6782339"/>
                <a:gd name="connsiteY4" fmla="*/ 2316993 h 2336074"/>
                <a:gd name="connsiteX5" fmla="*/ 1634139 w 6782339"/>
                <a:gd name="connsiteY5" fmla="*/ 914151 h 2336074"/>
                <a:gd name="connsiteX6" fmla="*/ 1929796 w 6782339"/>
                <a:gd name="connsiteY6" fmla="*/ 282072 h 2336074"/>
                <a:gd name="connsiteX7" fmla="*/ 6782339 w 6782339"/>
                <a:gd name="connsiteY7" fmla="*/ 989335 h 2336074"/>
                <a:gd name="connsiteX8" fmla="*/ 6782339 w 6782339"/>
                <a:gd name="connsiteY8" fmla="*/ 719714 h 2336074"/>
                <a:gd name="connsiteX9" fmla="*/ 1853596 w 6782339"/>
                <a:gd name="connsiteY9" fmla="*/ 1402 h 2336074"/>
                <a:gd name="connsiteX10" fmla="*/ 1703989 w 6782339"/>
                <a:gd name="connsiteY10" fmla="*/ 104018 h 233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339" h="2336074">
                  <a:moveTo>
                    <a:pt x="1703989" y="104018"/>
                  </a:moveTo>
                  <a:cubicBezTo>
                    <a:pt x="1703355" y="106939"/>
                    <a:pt x="1635283" y="398658"/>
                    <a:pt x="1399189" y="787278"/>
                  </a:cubicBezTo>
                  <a:cubicBezTo>
                    <a:pt x="1182401" y="1145164"/>
                    <a:pt x="774985" y="1661292"/>
                    <a:pt x="64674" y="2088393"/>
                  </a:cubicBezTo>
                  <a:cubicBezTo>
                    <a:pt x="1548" y="2126339"/>
                    <a:pt x="-18865" y="2208274"/>
                    <a:pt x="19081" y="2271400"/>
                  </a:cubicBezTo>
                  <a:cubicBezTo>
                    <a:pt x="57027" y="2334526"/>
                    <a:pt x="138962" y="2354939"/>
                    <a:pt x="202088" y="2316993"/>
                  </a:cubicBezTo>
                  <a:cubicBezTo>
                    <a:pt x="964088" y="1858523"/>
                    <a:pt x="1401602" y="1300993"/>
                    <a:pt x="1634139" y="914151"/>
                  </a:cubicBezTo>
                  <a:cubicBezTo>
                    <a:pt x="1755840" y="715081"/>
                    <a:pt x="1855003" y="503083"/>
                    <a:pt x="1929796" y="282072"/>
                  </a:cubicBezTo>
                  <a:lnTo>
                    <a:pt x="6782339" y="989335"/>
                  </a:lnTo>
                  <a:lnTo>
                    <a:pt x="6782339" y="719714"/>
                  </a:lnTo>
                  <a:lnTo>
                    <a:pt x="1853596" y="1402"/>
                  </a:lnTo>
                  <a:cubicBezTo>
                    <a:pt x="1784603" y="-8618"/>
                    <a:pt x="1719487" y="36046"/>
                    <a:pt x="1703989" y="104018"/>
                  </a:cubicBezTo>
                  <a:close/>
                </a:path>
              </a:pathLst>
            </a:custGeom>
            <a:solidFill>
              <a:srgbClr val="005C8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CB47735-8911-46C6-8029-E5AC6A0462C5}"/>
                </a:ext>
              </a:extLst>
            </p:cNvPr>
            <p:cNvSpPr/>
            <p:nvPr/>
          </p:nvSpPr>
          <p:spPr>
            <a:xfrm>
              <a:off x="0" y="5874198"/>
              <a:ext cx="3882431" cy="431478"/>
            </a:xfrm>
            <a:custGeom>
              <a:avLst/>
              <a:gdLst>
                <a:gd name="connsiteX0" fmla="*/ 3777234 w 3882431"/>
                <a:gd name="connsiteY0" fmla="*/ 263711 h 431478"/>
                <a:gd name="connsiteX1" fmla="*/ 3879392 w 3882431"/>
                <a:gd name="connsiteY1" fmla="*/ 105192 h 431478"/>
                <a:gd name="connsiteX2" fmla="*/ 3724275 w 3882431"/>
                <a:gd name="connsiteY2" fmla="*/ 2345 h 431478"/>
                <a:gd name="connsiteX3" fmla="*/ 0 w 3882431"/>
                <a:gd name="connsiteY3" fmla="*/ 9584 h 431478"/>
                <a:gd name="connsiteX4" fmla="*/ 0 w 3882431"/>
                <a:gd name="connsiteY4" fmla="*/ 279078 h 431478"/>
                <a:gd name="connsiteX5" fmla="*/ 1977390 w 3882431"/>
                <a:gd name="connsiteY5" fmla="*/ 431478 h 431478"/>
                <a:gd name="connsiteX6" fmla="*/ 3777234 w 3882431"/>
                <a:gd name="connsiteY6" fmla="*/ 263711 h 43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431" h="431478">
                  <a:moveTo>
                    <a:pt x="3777234" y="263711"/>
                  </a:moveTo>
                  <a:cubicBezTo>
                    <a:pt x="3849218" y="248147"/>
                    <a:pt x="3894956" y="177176"/>
                    <a:pt x="3879392" y="105192"/>
                  </a:cubicBezTo>
                  <a:cubicBezTo>
                    <a:pt x="3864114" y="34530"/>
                    <a:pt x="3795311" y="-11089"/>
                    <a:pt x="3724275" y="2345"/>
                  </a:cubicBezTo>
                  <a:cubicBezTo>
                    <a:pt x="2669159" y="216467"/>
                    <a:pt x="1418844" y="218245"/>
                    <a:pt x="0" y="9584"/>
                  </a:cubicBezTo>
                  <a:lnTo>
                    <a:pt x="0" y="279078"/>
                  </a:lnTo>
                  <a:cubicBezTo>
                    <a:pt x="699685" y="380678"/>
                    <a:pt x="1358815" y="431478"/>
                    <a:pt x="1977390" y="431478"/>
                  </a:cubicBezTo>
                  <a:cubicBezTo>
                    <a:pt x="2625344" y="431224"/>
                    <a:pt x="3226562" y="375471"/>
                    <a:pt x="3777234" y="263711"/>
                  </a:cubicBezTo>
                  <a:close/>
                </a:path>
              </a:pathLst>
            </a:custGeom>
            <a:solidFill>
              <a:srgbClr val="FFE84C"/>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6585E64C-C0BE-48E1-97AE-3D8C96A7F8EF}"/>
                </a:ext>
              </a:extLst>
            </p:cNvPr>
            <p:cNvSpPr/>
            <p:nvPr/>
          </p:nvSpPr>
          <p:spPr>
            <a:xfrm>
              <a:off x="3619238" y="5194777"/>
              <a:ext cx="2058962" cy="941101"/>
            </a:xfrm>
            <a:custGeom>
              <a:avLst/>
              <a:gdLst>
                <a:gd name="connsiteX0" fmla="*/ 133612 w 2058962"/>
                <a:gd name="connsiteY0" fmla="*/ 941101 h 941101"/>
                <a:gd name="connsiteX1" fmla="*/ 0 w 2058962"/>
                <a:gd name="connsiteY1" fmla="*/ 808013 h 941101"/>
                <a:gd name="connsiteX2" fmla="*/ 106815 w 2058962"/>
                <a:gd name="connsiteY2" fmla="*/ 677068 h 941101"/>
                <a:gd name="connsiteX3" fmla="*/ 1856875 w 2058962"/>
                <a:gd name="connsiteY3" fmla="*/ 19081 h 941101"/>
                <a:gd name="connsiteX4" fmla="*/ 2039882 w 2058962"/>
                <a:gd name="connsiteY4" fmla="*/ 64674 h 941101"/>
                <a:gd name="connsiteX5" fmla="*/ 1994289 w 2058962"/>
                <a:gd name="connsiteY5" fmla="*/ 247681 h 941101"/>
                <a:gd name="connsiteX6" fmla="*/ 160663 w 2058962"/>
                <a:gd name="connsiteY6" fmla="*/ 938307 h 941101"/>
                <a:gd name="connsiteX7" fmla="*/ 133612 w 2058962"/>
                <a:gd name="connsiteY7" fmla="*/ 941101 h 94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962" h="941101">
                  <a:moveTo>
                    <a:pt x="133612" y="941101"/>
                  </a:moveTo>
                  <a:cubicBezTo>
                    <a:pt x="59965" y="941246"/>
                    <a:pt x="145" y="881660"/>
                    <a:pt x="0" y="808013"/>
                  </a:cubicBezTo>
                  <a:cubicBezTo>
                    <a:pt x="-125" y="744496"/>
                    <a:pt x="44568" y="689707"/>
                    <a:pt x="106815" y="677068"/>
                  </a:cubicBezTo>
                  <a:cubicBezTo>
                    <a:pt x="768485" y="540924"/>
                    <a:pt x="1357257" y="319563"/>
                    <a:pt x="1856875" y="19081"/>
                  </a:cubicBezTo>
                  <a:cubicBezTo>
                    <a:pt x="1920001" y="-18865"/>
                    <a:pt x="2001936" y="1548"/>
                    <a:pt x="2039882" y="64674"/>
                  </a:cubicBezTo>
                  <a:cubicBezTo>
                    <a:pt x="2077828" y="127800"/>
                    <a:pt x="2057415" y="209735"/>
                    <a:pt x="1994289" y="247681"/>
                  </a:cubicBezTo>
                  <a:cubicBezTo>
                    <a:pt x="1468763" y="563657"/>
                    <a:pt x="851924" y="796067"/>
                    <a:pt x="160663" y="938307"/>
                  </a:cubicBezTo>
                  <a:cubicBezTo>
                    <a:pt x="151766" y="940166"/>
                    <a:pt x="142701" y="941102"/>
                    <a:pt x="133612" y="941101"/>
                  </a:cubicBezTo>
                  <a:close/>
                </a:path>
              </a:pathLst>
            </a:custGeom>
            <a:solidFill>
              <a:srgbClr val="FFE84C"/>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5142234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DEAB736-E5C7-4F8A-BC12-AD7CF2D2FA68}"/>
              </a:ext>
            </a:extLst>
          </p:cNvPr>
          <p:cNvGrpSpPr/>
          <p:nvPr userDrawn="1"/>
        </p:nvGrpSpPr>
        <p:grpSpPr>
          <a:xfrm>
            <a:off x="2475589" y="1650880"/>
            <a:ext cx="9717299" cy="5207761"/>
            <a:chOff x="2475589" y="1650880"/>
            <a:chExt cx="9717299" cy="5207761"/>
          </a:xfrm>
        </p:grpSpPr>
        <p:sp>
          <p:nvSpPr>
            <p:cNvPr id="9" name="Freeform: Shape 8">
              <a:extLst>
                <a:ext uri="{FF2B5EF4-FFF2-40B4-BE49-F238E27FC236}">
                  <a16:creationId xmlns:a16="http://schemas.microsoft.com/office/drawing/2014/main" id="{DF2E4789-30CF-4562-AC1B-EA9FDF4414BC}"/>
                </a:ext>
              </a:extLst>
            </p:cNvPr>
            <p:cNvSpPr/>
            <p:nvPr/>
          </p:nvSpPr>
          <p:spPr>
            <a:xfrm>
              <a:off x="8234448" y="1650880"/>
              <a:ext cx="3958440" cy="1200309"/>
            </a:xfrm>
            <a:custGeom>
              <a:avLst/>
              <a:gdLst>
                <a:gd name="connsiteX0" fmla="*/ 1853218 w 3958440"/>
                <a:gd name="connsiteY0" fmla="*/ 122840 h 1200309"/>
                <a:gd name="connsiteX1" fmla="*/ 47617 w 3958440"/>
                <a:gd name="connsiteY1" fmla="*/ 964802 h 1200309"/>
                <a:gd name="connsiteX2" fmla="*/ 31225 w 3958440"/>
                <a:gd name="connsiteY2" fmla="*/ 1152691 h 1200309"/>
                <a:gd name="connsiteX3" fmla="*/ 212732 w 3958440"/>
                <a:gd name="connsiteY3" fmla="*/ 1174117 h 1200309"/>
                <a:gd name="connsiteX4" fmla="*/ 1909866 w 3958440"/>
                <a:gd name="connsiteY4" fmla="*/ 383341 h 1200309"/>
                <a:gd name="connsiteX5" fmla="*/ 3958441 w 3958440"/>
                <a:gd name="connsiteY5" fmla="*/ 373180 h 1200309"/>
                <a:gd name="connsiteX6" fmla="*/ 3958441 w 3958440"/>
                <a:gd name="connsiteY6" fmla="*/ 101883 h 1200309"/>
                <a:gd name="connsiteX7" fmla="*/ 3820760 w 3958440"/>
                <a:gd name="connsiteY7" fmla="*/ 74829 h 1200309"/>
                <a:gd name="connsiteX8" fmla="*/ 1853218 w 3958440"/>
                <a:gd name="connsiteY8" fmla="*/ 122840 h 12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8440" h="1200309">
                  <a:moveTo>
                    <a:pt x="1853218" y="122840"/>
                  </a:moveTo>
                  <a:cubicBezTo>
                    <a:pt x="1175229" y="270555"/>
                    <a:pt x="567731" y="553918"/>
                    <a:pt x="47617" y="964802"/>
                  </a:cubicBezTo>
                  <a:cubicBezTo>
                    <a:pt x="-8794" y="1012159"/>
                    <a:pt x="-16133" y="1096280"/>
                    <a:pt x="31225" y="1152691"/>
                  </a:cubicBezTo>
                  <a:cubicBezTo>
                    <a:pt x="76553" y="1206685"/>
                    <a:pt x="156077" y="1216073"/>
                    <a:pt x="212732" y="1174117"/>
                  </a:cubicBezTo>
                  <a:cubicBezTo>
                    <a:pt x="700840" y="788509"/>
                    <a:pt x="1271758" y="522419"/>
                    <a:pt x="1909866" y="383341"/>
                  </a:cubicBezTo>
                  <a:cubicBezTo>
                    <a:pt x="2616687" y="229276"/>
                    <a:pt x="3301916" y="226354"/>
                    <a:pt x="3958441" y="373180"/>
                  </a:cubicBezTo>
                  <a:lnTo>
                    <a:pt x="3958441" y="101883"/>
                  </a:lnTo>
                  <a:cubicBezTo>
                    <a:pt x="3912716" y="92230"/>
                    <a:pt x="3866865" y="83085"/>
                    <a:pt x="3820760" y="74829"/>
                  </a:cubicBezTo>
                  <a:cubicBezTo>
                    <a:pt x="3184049" y="-38973"/>
                    <a:pt x="2522317" y="-22970"/>
                    <a:pt x="1853218" y="122840"/>
                  </a:cubicBezTo>
                  <a:close/>
                </a:path>
              </a:pathLst>
            </a:custGeom>
            <a:solidFill>
              <a:srgbClr val="005C82"/>
            </a:solid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DA31254-47BB-4C08-A50F-3432F5F43124}"/>
                </a:ext>
              </a:extLst>
            </p:cNvPr>
            <p:cNvSpPr/>
            <p:nvPr/>
          </p:nvSpPr>
          <p:spPr>
            <a:xfrm>
              <a:off x="2475589" y="2588626"/>
              <a:ext cx="6015363" cy="4270015"/>
            </a:xfrm>
            <a:custGeom>
              <a:avLst/>
              <a:gdLst>
                <a:gd name="connsiteX0" fmla="*/ 1493152 w 6015363"/>
                <a:gd name="connsiteY0" fmla="*/ 3047907 h 4270015"/>
                <a:gd name="connsiteX1" fmla="*/ 3898250 w 6015363"/>
                <a:gd name="connsiteY1" fmla="*/ 3728183 h 4270015"/>
                <a:gd name="connsiteX2" fmla="*/ 4086697 w 6015363"/>
                <a:gd name="connsiteY2" fmla="*/ 3735832 h 4270015"/>
                <a:gd name="connsiteX3" fmla="*/ 4128903 w 6015363"/>
                <a:gd name="connsiteY3" fmla="*/ 3651976 h 4270015"/>
                <a:gd name="connsiteX4" fmla="*/ 4444782 w 6015363"/>
                <a:gd name="connsiteY4" fmla="*/ 2424152 h 4270015"/>
                <a:gd name="connsiteX5" fmla="*/ 5956858 w 6015363"/>
                <a:gd name="connsiteY5" fmla="*/ 243738 h 4270015"/>
                <a:gd name="connsiteX6" fmla="*/ 5992350 w 6015363"/>
                <a:gd name="connsiteY6" fmla="*/ 58505 h 4270015"/>
                <a:gd name="connsiteX7" fmla="*/ 5807117 w 6015363"/>
                <a:gd name="connsiteY7" fmla="*/ 23013 h 4270015"/>
                <a:gd name="connsiteX8" fmla="*/ 5791743 w 6015363"/>
                <a:gd name="connsiteY8" fmla="*/ 35185 h 4270015"/>
                <a:gd name="connsiteX9" fmla="*/ 4194695 w 6015363"/>
                <a:gd name="connsiteY9" fmla="*/ 2331433 h 4270015"/>
                <a:gd name="connsiteX10" fmla="*/ 3905870 w 6015363"/>
                <a:gd name="connsiteY10" fmla="*/ 3357944 h 4270015"/>
                <a:gd name="connsiteX11" fmla="*/ 2741933 w 6015363"/>
                <a:gd name="connsiteY11" fmla="*/ 2711453 h 4270015"/>
                <a:gd name="connsiteX12" fmla="*/ 1397766 w 6015363"/>
                <a:gd name="connsiteY12" fmla="*/ 2798837 h 4270015"/>
                <a:gd name="connsiteX13" fmla="*/ 334549 w 6015363"/>
                <a:gd name="connsiteY13" fmla="*/ 3611713 h 4270015"/>
                <a:gd name="connsiteX14" fmla="*/ 0 w 6015363"/>
                <a:gd name="connsiteY14" fmla="*/ 4270016 h 4270015"/>
                <a:gd name="connsiteX15" fmla="*/ 283109 w 6015363"/>
                <a:gd name="connsiteY15" fmla="*/ 4270016 h 4270015"/>
                <a:gd name="connsiteX16" fmla="*/ 1493152 w 6015363"/>
                <a:gd name="connsiteY16" fmla="*/ 3047907 h 42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5363" h="4270015">
                  <a:moveTo>
                    <a:pt x="1493152" y="3047907"/>
                  </a:moveTo>
                  <a:cubicBezTo>
                    <a:pt x="2328509" y="2728092"/>
                    <a:pt x="3205145" y="2976019"/>
                    <a:pt x="3898250" y="3728183"/>
                  </a:cubicBezTo>
                  <a:cubicBezTo>
                    <a:pt x="3948176" y="3782334"/>
                    <a:pt x="4032547" y="3785758"/>
                    <a:pt x="4086697" y="3735832"/>
                  </a:cubicBezTo>
                  <a:cubicBezTo>
                    <a:pt x="4110464" y="3713919"/>
                    <a:pt x="4125463" y="3684120"/>
                    <a:pt x="4128903" y="3651976"/>
                  </a:cubicBezTo>
                  <a:cubicBezTo>
                    <a:pt x="4128903" y="3646642"/>
                    <a:pt x="4189234" y="3112175"/>
                    <a:pt x="4444782" y="2424152"/>
                  </a:cubicBezTo>
                  <a:cubicBezTo>
                    <a:pt x="4680007" y="1790998"/>
                    <a:pt x="5133313" y="898612"/>
                    <a:pt x="5956858" y="243738"/>
                  </a:cubicBezTo>
                  <a:cubicBezTo>
                    <a:pt x="6017810" y="202388"/>
                    <a:pt x="6033701" y="119457"/>
                    <a:pt x="5992350" y="58505"/>
                  </a:cubicBezTo>
                  <a:cubicBezTo>
                    <a:pt x="5951000" y="-2447"/>
                    <a:pt x="5868069" y="-18337"/>
                    <a:pt x="5807117" y="23013"/>
                  </a:cubicBezTo>
                  <a:cubicBezTo>
                    <a:pt x="5801701" y="26687"/>
                    <a:pt x="5796562" y="30756"/>
                    <a:pt x="5791743" y="35185"/>
                  </a:cubicBezTo>
                  <a:cubicBezTo>
                    <a:pt x="4919298" y="728035"/>
                    <a:pt x="4441734" y="1666272"/>
                    <a:pt x="4194695" y="2331433"/>
                  </a:cubicBezTo>
                  <a:cubicBezTo>
                    <a:pt x="4070316" y="2665066"/>
                    <a:pt x="3973713" y="3008403"/>
                    <a:pt x="3905870" y="3357944"/>
                  </a:cubicBezTo>
                  <a:cubicBezTo>
                    <a:pt x="3553285" y="3030507"/>
                    <a:pt x="3162724" y="2813444"/>
                    <a:pt x="2741933" y="2711453"/>
                  </a:cubicBezTo>
                  <a:cubicBezTo>
                    <a:pt x="2295429" y="2603066"/>
                    <a:pt x="1826479" y="2633553"/>
                    <a:pt x="1397766" y="2798837"/>
                  </a:cubicBezTo>
                  <a:cubicBezTo>
                    <a:pt x="972378" y="2961580"/>
                    <a:pt x="603137" y="3243881"/>
                    <a:pt x="334549" y="3611713"/>
                  </a:cubicBezTo>
                  <a:cubicBezTo>
                    <a:pt x="187824" y="3811401"/>
                    <a:pt x="74810" y="4033781"/>
                    <a:pt x="0" y="4270016"/>
                  </a:cubicBezTo>
                  <a:lnTo>
                    <a:pt x="283109" y="4270016"/>
                  </a:lnTo>
                  <a:cubicBezTo>
                    <a:pt x="482645" y="3723865"/>
                    <a:pt x="921471" y="3266622"/>
                    <a:pt x="1493152" y="3047907"/>
                  </a:cubicBezTo>
                  <a:close/>
                </a:path>
              </a:pathLst>
            </a:custGeom>
            <a:solidFill>
              <a:srgbClr val="85ABE3"/>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9185939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0264108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3"/>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33486528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Quote Icon">
            <a:extLst>
              <a:ext uri="{FF2B5EF4-FFF2-40B4-BE49-F238E27FC236}">
                <a16:creationId xmlns:a16="http://schemas.microsoft.com/office/drawing/2014/main" id="{AE908A02-8ECE-4103-A82B-C66FB3871F13}"/>
              </a:ext>
            </a:extLst>
          </p:cNvPr>
          <p:cNvSpPr>
            <a:spLocks noGrp="1" noChangeAspect="1"/>
          </p:cNvSpPr>
          <p:nvPr>
            <p:ph type="body" sz="quarter" idx="23" hasCustomPrompt="1"/>
          </p:nvPr>
        </p:nvSpPr>
        <p:spPr>
          <a:xfrm>
            <a:off x="6184900"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1023559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5892826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Quote Icon / Statistic">
            <a:extLst>
              <a:ext uri="{FF2B5EF4-FFF2-40B4-BE49-F238E27FC236}">
                <a16:creationId xmlns:a16="http://schemas.microsoft.com/office/drawing/2014/main" id="{32ED2ED7-DFF0-490A-B1BF-4CFE506929CE}"/>
              </a:ext>
            </a:extLst>
          </p:cNvPr>
          <p:cNvSpPr>
            <a:spLocks noGrp="1" noChangeAspect="1"/>
          </p:cNvSpPr>
          <p:nvPr>
            <p:ph type="body" sz="quarter" idx="24" hasCustomPrompt="1"/>
          </p:nvPr>
        </p:nvSpPr>
        <p:spPr>
          <a:xfrm>
            <a:off x="6184900"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2169088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eft 1">
    <p:bg>
      <p:bgPr>
        <a:solidFill>
          <a:schemeClr val="accent3"/>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24" name="Quote Icon">
            <a:extLst>
              <a:ext uri="{FF2B5EF4-FFF2-40B4-BE49-F238E27FC236}">
                <a16:creationId xmlns:a16="http://schemas.microsoft.com/office/drawing/2014/main" id="{66346173-DA66-4D9F-9D8B-CA03323AD95F}"/>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74580E24-C8C1-44DD-9DAF-8C9F2AB5AEE9}"/>
              </a:ext>
            </a:extLst>
          </p:cNvPr>
          <p:cNvGrpSpPr/>
          <p:nvPr userDrawn="1"/>
        </p:nvGrpSpPr>
        <p:grpSpPr>
          <a:xfrm>
            <a:off x="7547448" y="0"/>
            <a:ext cx="4612546" cy="6857999"/>
            <a:chOff x="7547448" y="0"/>
            <a:chExt cx="4612546" cy="6857999"/>
          </a:xfrm>
        </p:grpSpPr>
        <p:sp>
          <p:nvSpPr>
            <p:cNvPr id="15" name="Freeform: Shape 14">
              <a:extLst>
                <a:ext uri="{FF2B5EF4-FFF2-40B4-BE49-F238E27FC236}">
                  <a16:creationId xmlns:a16="http://schemas.microsoft.com/office/drawing/2014/main" id="{DC30B9A7-E7FE-4E69-BB7A-2A29A20473C1}"/>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30B80F-5F39-4055-89EE-8B57F2F12126}"/>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047205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Statistic Left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17551C48-C61C-47BF-A013-FC9EF9B355CD}"/>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A165A3F0-D5F1-4661-94DA-81733AD3F528}"/>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C8083FC4-7BEB-4F09-BB31-D538ADC67860}"/>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3CDC7C8-1F1E-4C25-8520-49CC1BBB6E55}"/>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7965056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eft 2">
    <p:bg>
      <p:bgPr>
        <a:solidFill>
          <a:schemeClr val="accent5"/>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7" name="Quote Icon">
            <a:extLst>
              <a:ext uri="{FF2B5EF4-FFF2-40B4-BE49-F238E27FC236}">
                <a16:creationId xmlns:a16="http://schemas.microsoft.com/office/drawing/2014/main" id="{4AC0413B-EA74-4917-8C17-0F00279AD38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F1F66A29-ED93-4687-9E8C-29DF508B4ECC}"/>
              </a:ext>
            </a:extLst>
          </p:cNvPr>
          <p:cNvGrpSpPr/>
          <p:nvPr userDrawn="1"/>
        </p:nvGrpSpPr>
        <p:grpSpPr>
          <a:xfrm>
            <a:off x="7042973" y="0"/>
            <a:ext cx="2774698" cy="6857999"/>
            <a:chOff x="7042973" y="0"/>
            <a:chExt cx="2774698" cy="6857999"/>
          </a:xfrm>
        </p:grpSpPr>
        <p:sp>
          <p:nvSpPr>
            <p:cNvPr id="15" name="Freeform: Shape 14">
              <a:extLst>
                <a:ext uri="{FF2B5EF4-FFF2-40B4-BE49-F238E27FC236}">
                  <a16:creationId xmlns:a16="http://schemas.microsoft.com/office/drawing/2014/main" id="{CA8CC906-BC20-46AD-BB60-C5A23A3250EF}"/>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E154F5-6119-49F9-8212-0598FE4464EE}"/>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9475216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Statistic Left 2">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4" name="Quote Icon / Statistic">
            <a:extLst>
              <a:ext uri="{FF2B5EF4-FFF2-40B4-BE49-F238E27FC236}">
                <a16:creationId xmlns:a16="http://schemas.microsoft.com/office/drawing/2014/main" id="{F933B12E-A112-4D42-93D5-2D38F7861927}"/>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tx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5" name="Group 14">
            <a:extLst>
              <a:ext uri="{FF2B5EF4-FFF2-40B4-BE49-F238E27FC236}">
                <a16:creationId xmlns:a16="http://schemas.microsoft.com/office/drawing/2014/main" id="{2F50FD1A-8E23-4EE9-9FA6-0FDE4E1D85ED}"/>
              </a:ext>
            </a:extLst>
          </p:cNvPr>
          <p:cNvGrpSpPr/>
          <p:nvPr userDrawn="1"/>
        </p:nvGrpSpPr>
        <p:grpSpPr>
          <a:xfrm>
            <a:off x="7042973" y="0"/>
            <a:ext cx="2774698" cy="6857999"/>
            <a:chOff x="7042973" y="0"/>
            <a:chExt cx="2774698" cy="6857999"/>
          </a:xfrm>
        </p:grpSpPr>
        <p:sp>
          <p:nvSpPr>
            <p:cNvPr id="16" name="Freeform: Shape 15">
              <a:extLst>
                <a:ext uri="{FF2B5EF4-FFF2-40B4-BE49-F238E27FC236}">
                  <a16:creationId xmlns:a16="http://schemas.microsoft.com/office/drawing/2014/main" id="{4E6D31F4-C91C-43CC-85F5-A530E3101F3A}"/>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4F38E0F-7CD5-4BBA-95D9-8369C9118A80}"/>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6233235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eft 3">
    <p:bg>
      <p:bgPr>
        <a:solidFill>
          <a:schemeClr val="accent6"/>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8" name="Quote Icon">
            <a:extLst>
              <a:ext uri="{FF2B5EF4-FFF2-40B4-BE49-F238E27FC236}">
                <a16:creationId xmlns:a16="http://schemas.microsoft.com/office/drawing/2014/main" id="{ED1ABE6B-EC7D-43C9-97DF-9A881CF6739C}"/>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7" name="Group 16">
            <a:extLst>
              <a:ext uri="{FF2B5EF4-FFF2-40B4-BE49-F238E27FC236}">
                <a16:creationId xmlns:a16="http://schemas.microsoft.com/office/drawing/2014/main" id="{29BB6CF9-9291-4113-A7AC-4C75F2D6CF55}"/>
              </a:ext>
            </a:extLst>
          </p:cNvPr>
          <p:cNvGrpSpPr/>
          <p:nvPr userDrawn="1"/>
        </p:nvGrpSpPr>
        <p:grpSpPr>
          <a:xfrm>
            <a:off x="7547448" y="0"/>
            <a:ext cx="4612546" cy="6857999"/>
            <a:chOff x="7547448" y="0"/>
            <a:chExt cx="4612546" cy="6857999"/>
          </a:xfrm>
        </p:grpSpPr>
        <p:sp>
          <p:nvSpPr>
            <p:cNvPr id="19" name="Freeform: Shape 18">
              <a:extLst>
                <a:ext uri="{FF2B5EF4-FFF2-40B4-BE49-F238E27FC236}">
                  <a16:creationId xmlns:a16="http://schemas.microsoft.com/office/drawing/2014/main" id="{4DB04BF7-DF39-4EBE-9D44-70C135CBB8DA}"/>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5BFFD33-2B54-4619-9C49-49884BA7763F}"/>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6312470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tatistic Left 3">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BA592EBC-D3FD-4F62-A485-627134BEB78E}"/>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B48C54C2-4F86-454E-82F5-80FF402FD3C9}"/>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DE469C0B-9D89-40AC-92A1-CE734F755744}"/>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C34488E-32D2-4934-A141-CD80F55CEE6E}"/>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9896680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ccolades">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E949CFC-1E62-4DFE-9903-0273E5EB21C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30" name="Text Placeholder 2">
            <a:extLst>
              <a:ext uri="{FF2B5EF4-FFF2-40B4-BE49-F238E27FC236}">
                <a16:creationId xmlns:a16="http://schemas.microsoft.com/office/drawing/2014/main" id="{E2A2A036-A8C1-4410-8C99-D7E221447D29}"/>
              </a:ext>
            </a:extLst>
          </p:cNvPr>
          <p:cNvSpPr>
            <a:spLocks noGrp="1"/>
          </p:cNvSpPr>
          <p:nvPr>
            <p:ph type="body" sz="quarter" idx="14"/>
          </p:nvPr>
        </p:nvSpPr>
        <p:spPr>
          <a:xfrm>
            <a:off x="8008939" y="3138500"/>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3E4CD5E2-EBB2-4FA3-A395-9363F30B1E9D}"/>
              </a:ext>
            </a:extLst>
          </p:cNvPr>
          <p:cNvSpPr>
            <a:spLocks noGrp="1"/>
          </p:cNvSpPr>
          <p:nvPr userDrawn="1">
            <p:ph type="body" sz="quarter" idx="12"/>
          </p:nvPr>
        </p:nvSpPr>
        <p:spPr>
          <a:xfrm>
            <a:off x="719113" y="3138499"/>
            <a:ext cx="2552724" cy="2998776"/>
          </a:xfrm>
          <a:solidFill>
            <a:schemeClr val="tx2"/>
          </a:solidFill>
        </p:spPr>
        <p:txBody>
          <a:bodyPr lIns="108000" tIns="72000" rIns="108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2">
            <a:extLst>
              <a:ext uri="{FF2B5EF4-FFF2-40B4-BE49-F238E27FC236}">
                <a16:creationId xmlns:a16="http://schemas.microsoft.com/office/drawing/2014/main" id="{6D941C59-34BD-41A3-AF7D-C23C0260892E}"/>
              </a:ext>
            </a:extLst>
          </p:cNvPr>
          <p:cNvSpPr>
            <a:spLocks noGrp="1"/>
          </p:cNvSpPr>
          <p:nvPr>
            <p:ph type="body" sz="quarter" idx="13"/>
          </p:nvPr>
        </p:nvSpPr>
        <p:spPr>
          <a:xfrm>
            <a:off x="3452813" y="3138499"/>
            <a:ext cx="4375150" cy="2998776"/>
          </a:xfrm>
          <a:solidFill>
            <a:schemeClr val="accent2"/>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Picture Placeholder 8">
            <a:extLst>
              <a:ext uri="{FF2B5EF4-FFF2-40B4-BE49-F238E27FC236}">
                <a16:creationId xmlns:a16="http://schemas.microsoft.com/office/drawing/2014/main" id="{55C70207-70D8-41B5-841A-D7F3BD5D4EDD}"/>
              </a:ext>
            </a:extLst>
          </p:cNvPr>
          <p:cNvSpPr>
            <a:spLocks noGrp="1"/>
          </p:cNvSpPr>
          <p:nvPr>
            <p:ph type="pic" sz="quarter" idx="16"/>
          </p:nvPr>
        </p:nvSpPr>
        <p:spPr>
          <a:xfrm>
            <a:off x="719138" y="1565275"/>
            <a:ext cx="1641475" cy="1393224"/>
          </a:xfrm>
        </p:spPr>
        <p:txBody>
          <a:bodyPr/>
          <a:lstStyle/>
          <a:p>
            <a:r>
              <a:rPr lang="en-US"/>
              <a:t>Click icon to add picture</a:t>
            </a:r>
            <a:endParaRPr lang="en-GB" dirty="0"/>
          </a:p>
        </p:txBody>
      </p:sp>
      <p:sp>
        <p:nvSpPr>
          <p:cNvPr id="33" name="Picture Placeholder 8">
            <a:extLst>
              <a:ext uri="{FF2B5EF4-FFF2-40B4-BE49-F238E27FC236}">
                <a16:creationId xmlns:a16="http://schemas.microsoft.com/office/drawing/2014/main" id="{52707F8D-3492-47D7-AF94-97ADA4F892BB}"/>
              </a:ext>
            </a:extLst>
          </p:cNvPr>
          <p:cNvSpPr>
            <a:spLocks noGrp="1"/>
          </p:cNvSpPr>
          <p:nvPr>
            <p:ph type="pic" sz="quarter" idx="17"/>
          </p:nvPr>
        </p:nvSpPr>
        <p:spPr>
          <a:xfrm>
            <a:off x="3452813" y="1565275"/>
            <a:ext cx="1641475" cy="1393224"/>
          </a:xfrm>
        </p:spPr>
        <p:txBody>
          <a:bodyPr/>
          <a:lstStyle/>
          <a:p>
            <a:r>
              <a:rPr lang="en-US"/>
              <a:t>Click icon to add picture</a:t>
            </a:r>
            <a:endParaRPr lang="en-GB" dirty="0"/>
          </a:p>
        </p:txBody>
      </p:sp>
      <p:sp>
        <p:nvSpPr>
          <p:cNvPr id="34" name="Picture Placeholder 8">
            <a:extLst>
              <a:ext uri="{FF2B5EF4-FFF2-40B4-BE49-F238E27FC236}">
                <a16:creationId xmlns:a16="http://schemas.microsoft.com/office/drawing/2014/main" id="{BD8F2EF5-333B-4333-A8B8-E1FC40862BB1}"/>
              </a:ext>
            </a:extLst>
          </p:cNvPr>
          <p:cNvSpPr>
            <a:spLocks noGrp="1"/>
          </p:cNvSpPr>
          <p:nvPr>
            <p:ph type="pic" sz="quarter" idx="18"/>
          </p:nvPr>
        </p:nvSpPr>
        <p:spPr>
          <a:xfrm>
            <a:off x="8008939" y="1565275"/>
            <a:ext cx="1641475" cy="1393224"/>
          </a:xfrm>
        </p:spPr>
        <p:txBody>
          <a:bodyPr/>
          <a:lstStyle/>
          <a:p>
            <a:r>
              <a:rPr lang="en-US"/>
              <a:t>Click icon to add picture</a:t>
            </a:r>
            <a:endParaRPr lang="en-GB" dirty="0"/>
          </a:p>
        </p:txBody>
      </p:sp>
      <p:sp>
        <p:nvSpPr>
          <p:cNvPr id="35" name="Text Placeholder 2">
            <a:extLst>
              <a:ext uri="{FF2B5EF4-FFF2-40B4-BE49-F238E27FC236}">
                <a16:creationId xmlns:a16="http://schemas.microsoft.com/office/drawing/2014/main" id="{4621DBA4-C41D-4040-B6F9-D89D8DCF338F}"/>
              </a:ext>
            </a:extLst>
          </p:cNvPr>
          <p:cNvSpPr>
            <a:spLocks noGrp="1"/>
          </p:cNvSpPr>
          <p:nvPr>
            <p:ph type="body" sz="quarter" idx="19"/>
          </p:nvPr>
        </p:nvSpPr>
        <p:spPr>
          <a:xfrm>
            <a:off x="8008939" y="4742495"/>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6961927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5"/>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5489D85-D0F9-4009-B631-1A6B5A0B087B}"/>
              </a:ext>
            </a:extLst>
          </p:cNvPr>
          <p:cNvGrpSpPr/>
          <p:nvPr userDrawn="1"/>
        </p:nvGrpSpPr>
        <p:grpSpPr>
          <a:xfrm>
            <a:off x="4244705" y="1244483"/>
            <a:ext cx="7948563" cy="5612872"/>
            <a:chOff x="4244705" y="1244483"/>
            <a:chExt cx="7948563" cy="5612872"/>
          </a:xfrm>
        </p:grpSpPr>
        <p:sp>
          <p:nvSpPr>
            <p:cNvPr id="10" name="Freeform: Shape 9">
              <a:extLst>
                <a:ext uri="{FF2B5EF4-FFF2-40B4-BE49-F238E27FC236}">
                  <a16:creationId xmlns:a16="http://schemas.microsoft.com/office/drawing/2014/main" id="{62BD671C-1B9C-4960-A042-4A14DEB69BFA}"/>
                </a:ext>
              </a:extLst>
            </p:cNvPr>
            <p:cNvSpPr/>
            <p:nvPr/>
          </p:nvSpPr>
          <p:spPr>
            <a:xfrm>
              <a:off x="10117025" y="1244483"/>
              <a:ext cx="2076243" cy="1114055"/>
            </a:xfrm>
            <a:custGeom>
              <a:avLst/>
              <a:gdLst>
                <a:gd name="connsiteX0" fmla="*/ 51038 w 2076243"/>
                <a:gd name="connsiteY0" fmla="*/ 875456 h 1114055"/>
                <a:gd name="connsiteX1" fmla="*/ 28561 w 2076243"/>
                <a:gd name="connsiteY1" fmla="*/ 1063017 h 1114055"/>
                <a:gd name="connsiteX2" fmla="*/ 216123 w 2076243"/>
                <a:gd name="connsiteY2" fmla="*/ 1085494 h 1114055"/>
                <a:gd name="connsiteX3" fmla="*/ 1916366 w 2076243"/>
                <a:gd name="connsiteY3" fmla="*/ 302359 h 1114055"/>
                <a:gd name="connsiteX4" fmla="*/ 2076244 w 2076243"/>
                <a:gd name="connsiteY4" fmla="*/ 270993 h 1114055"/>
                <a:gd name="connsiteX5" fmla="*/ 2076244 w 2076243"/>
                <a:gd name="connsiteY5" fmla="*/ 0 h 1114055"/>
                <a:gd name="connsiteX6" fmla="*/ 1860364 w 2076243"/>
                <a:gd name="connsiteY6" fmla="*/ 41525 h 1114055"/>
                <a:gd name="connsiteX7" fmla="*/ 51038 w 2076243"/>
                <a:gd name="connsiteY7" fmla="*/ 875456 h 111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243" h="1114055">
                  <a:moveTo>
                    <a:pt x="51038" y="875456"/>
                  </a:moveTo>
                  <a:cubicBezTo>
                    <a:pt x="-6962" y="921043"/>
                    <a:pt x="-17026" y="1005017"/>
                    <a:pt x="28561" y="1063017"/>
                  </a:cubicBezTo>
                  <a:cubicBezTo>
                    <a:pt x="74148" y="1121018"/>
                    <a:pt x="158122" y="1131081"/>
                    <a:pt x="216123" y="1085494"/>
                  </a:cubicBezTo>
                  <a:cubicBezTo>
                    <a:pt x="705789" y="701990"/>
                    <a:pt x="1277870" y="438490"/>
                    <a:pt x="1916366" y="302359"/>
                  </a:cubicBezTo>
                  <a:cubicBezTo>
                    <a:pt x="1969828" y="290930"/>
                    <a:pt x="2023036" y="280644"/>
                    <a:pt x="2076244" y="270993"/>
                  </a:cubicBezTo>
                  <a:lnTo>
                    <a:pt x="2076244" y="0"/>
                  </a:lnTo>
                  <a:cubicBezTo>
                    <a:pt x="2004538" y="12445"/>
                    <a:pt x="1932579" y="26287"/>
                    <a:pt x="1860364" y="41525"/>
                  </a:cubicBezTo>
                  <a:cubicBezTo>
                    <a:pt x="1181614" y="186291"/>
                    <a:pt x="572959" y="466935"/>
                    <a:pt x="51038" y="875456"/>
                  </a:cubicBezTo>
                  <a:close/>
                </a:path>
              </a:pathLst>
            </a:custGeom>
            <a:solidFill>
              <a:srgbClr val="FFFFFF"/>
            </a:solidFill>
            <a:ln w="1269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71775B54-885A-4778-A047-973BA88B55AB}"/>
                </a:ext>
              </a:extLst>
            </p:cNvPr>
            <p:cNvSpPr/>
            <p:nvPr/>
          </p:nvSpPr>
          <p:spPr>
            <a:xfrm>
              <a:off x="4244705" y="2099323"/>
              <a:ext cx="6124043" cy="4758032"/>
            </a:xfrm>
            <a:custGeom>
              <a:avLst/>
              <a:gdLst>
                <a:gd name="connsiteX0" fmla="*/ 1597891 w 6124043"/>
                <a:gd name="connsiteY0" fmla="*/ 3022105 h 4758032"/>
                <a:gd name="connsiteX1" fmla="*/ 3999490 w 6124043"/>
                <a:gd name="connsiteY1" fmla="*/ 3712667 h 4758032"/>
                <a:gd name="connsiteX2" fmla="*/ 4187860 w 6124043"/>
                <a:gd name="connsiteY2" fmla="*/ 3721286 h 4758032"/>
                <a:gd name="connsiteX3" fmla="*/ 4230481 w 6124043"/>
                <a:gd name="connsiteY3" fmla="*/ 3637744 h 4758032"/>
                <a:gd name="connsiteX4" fmla="*/ 4554301 w 6124043"/>
                <a:gd name="connsiteY4" fmla="*/ 2404308 h 4758032"/>
                <a:gd name="connsiteX5" fmla="*/ 6073205 w 6124043"/>
                <a:gd name="connsiteY5" fmla="*/ 238146 h 4758032"/>
                <a:gd name="connsiteX6" fmla="*/ 6095428 w 6124043"/>
                <a:gd name="connsiteY6" fmla="*/ 50839 h 4758032"/>
                <a:gd name="connsiteX7" fmla="*/ 5908120 w 6124043"/>
                <a:gd name="connsiteY7" fmla="*/ 28616 h 4758032"/>
                <a:gd name="connsiteX8" fmla="*/ 4301975 w 6124043"/>
                <a:gd name="connsiteY8" fmla="*/ 2317449 h 4758032"/>
                <a:gd name="connsiteX9" fmla="*/ 4008633 w 6124043"/>
                <a:gd name="connsiteY9" fmla="*/ 3342624 h 4758032"/>
                <a:gd name="connsiteX10" fmla="*/ 2847708 w 6124043"/>
                <a:gd name="connsiteY10" fmla="*/ 2691174 h 4758032"/>
                <a:gd name="connsiteX11" fmla="*/ 1503412 w 6124043"/>
                <a:gd name="connsiteY11" fmla="*/ 2772574 h 4758032"/>
                <a:gd name="connsiteX12" fmla="*/ 436712 w 6124043"/>
                <a:gd name="connsiteY12" fmla="*/ 3580726 h 4758032"/>
                <a:gd name="connsiteX13" fmla="*/ 0 w 6124043"/>
                <a:gd name="connsiteY13" fmla="*/ 4758033 h 4758032"/>
                <a:gd name="connsiteX14" fmla="*/ 267437 w 6124043"/>
                <a:gd name="connsiteY14" fmla="*/ 4758033 h 4758032"/>
                <a:gd name="connsiteX15" fmla="*/ 1597891 w 6124043"/>
                <a:gd name="connsiteY15" fmla="*/ 3022105 h 475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24043" h="4758032">
                  <a:moveTo>
                    <a:pt x="1597891" y="3022105"/>
                  </a:moveTo>
                  <a:cubicBezTo>
                    <a:pt x="2434489" y="2705905"/>
                    <a:pt x="3309945" y="2957596"/>
                    <a:pt x="3999490" y="3712667"/>
                  </a:cubicBezTo>
                  <a:cubicBezTo>
                    <a:pt x="4049127" y="3767064"/>
                    <a:pt x="4133463" y="3770923"/>
                    <a:pt x="4187860" y="3721286"/>
                  </a:cubicBezTo>
                  <a:cubicBezTo>
                    <a:pt x="4211716" y="3699519"/>
                    <a:pt x="4226860" y="3669833"/>
                    <a:pt x="4230481" y="3637744"/>
                  </a:cubicBezTo>
                  <a:cubicBezTo>
                    <a:pt x="4231116" y="3632410"/>
                    <a:pt x="4293975" y="3091695"/>
                    <a:pt x="4554301" y="2404308"/>
                  </a:cubicBezTo>
                  <a:cubicBezTo>
                    <a:pt x="4792276" y="1774447"/>
                    <a:pt x="5249053" y="887309"/>
                    <a:pt x="6073205" y="238146"/>
                  </a:cubicBezTo>
                  <a:cubicBezTo>
                    <a:pt x="6131065" y="192559"/>
                    <a:pt x="6141014" y="108699"/>
                    <a:pt x="6095428" y="50839"/>
                  </a:cubicBezTo>
                  <a:cubicBezTo>
                    <a:pt x="6049841" y="-7022"/>
                    <a:pt x="5965980" y="-16971"/>
                    <a:pt x="5908120" y="28616"/>
                  </a:cubicBezTo>
                  <a:cubicBezTo>
                    <a:pt x="5033300" y="717653"/>
                    <a:pt x="4551888" y="1654063"/>
                    <a:pt x="4301975" y="2317449"/>
                  </a:cubicBezTo>
                  <a:cubicBezTo>
                    <a:pt x="4176116" y="2650508"/>
                    <a:pt x="4078001" y="2993400"/>
                    <a:pt x="4008633" y="3342624"/>
                  </a:cubicBezTo>
                  <a:cubicBezTo>
                    <a:pt x="3657638" y="3013725"/>
                    <a:pt x="3268039" y="2794924"/>
                    <a:pt x="2847708" y="2691174"/>
                  </a:cubicBezTo>
                  <a:cubicBezTo>
                    <a:pt x="2401767" y="2580866"/>
                    <a:pt x="1932784" y="2609264"/>
                    <a:pt x="1503412" y="2772574"/>
                  </a:cubicBezTo>
                  <a:cubicBezTo>
                    <a:pt x="1077314" y="2933386"/>
                    <a:pt x="706849" y="3214057"/>
                    <a:pt x="436712" y="3580726"/>
                  </a:cubicBezTo>
                  <a:cubicBezTo>
                    <a:pt x="181480" y="3923286"/>
                    <a:pt x="29911" y="4331892"/>
                    <a:pt x="0" y="4758033"/>
                  </a:cubicBezTo>
                  <a:lnTo>
                    <a:pt x="267437" y="4758033"/>
                  </a:lnTo>
                  <a:cubicBezTo>
                    <a:pt x="328010" y="3992421"/>
                    <a:pt x="850821" y="3304400"/>
                    <a:pt x="1597891" y="3022105"/>
                  </a:cubicBezTo>
                  <a:close/>
                </a:path>
              </a:pathLst>
            </a:custGeom>
            <a:solidFill>
              <a:srgbClr val="005C82"/>
            </a:solidFill>
            <a:ln w="12690" cap="flat">
              <a:noFill/>
              <a:prstDash val="solid"/>
              <a:miter/>
            </a:ln>
          </p:spPr>
          <p:txBody>
            <a:bodyPr rtlCol="0" anchor="ctr"/>
            <a:lstStyle/>
            <a:p>
              <a:endParaRPr lang="en-GB"/>
            </a:p>
          </p:txBody>
        </p:sp>
      </p:gr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7817089" y="719138"/>
            <a:ext cx="4376737" cy="5418137"/>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9603413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grpSp>
        <p:nvGrpSpPr>
          <p:cNvPr id="40" name="Group 39">
            <a:extLst>
              <a:ext uri="{FF2B5EF4-FFF2-40B4-BE49-F238E27FC236}">
                <a16:creationId xmlns:a16="http://schemas.microsoft.com/office/drawing/2014/main" id="{EDF663FA-9A4B-4327-BA90-F0E24E7DEF24}"/>
              </a:ext>
            </a:extLst>
          </p:cNvPr>
          <p:cNvGrpSpPr/>
          <p:nvPr userDrawn="1"/>
        </p:nvGrpSpPr>
        <p:grpSpPr>
          <a:xfrm>
            <a:off x="454409" y="2997467"/>
            <a:ext cx="11748559" cy="3159175"/>
            <a:chOff x="454409" y="2997467"/>
            <a:chExt cx="11748559" cy="3159175"/>
          </a:xfrm>
        </p:grpSpPr>
        <p:sp>
          <p:nvSpPr>
            <p:cNvPr id="41" name="Freeform: Shape 40">
              <a:extLst>
                <a:ext uri="{FF2B5EF4-FFF2-40B4-BE49-F238E27FC236}">
                  <a16:creationId xmlns:a16="http://schemas.microsoft.com/office/drawing/2014/main" id="{CFBF558B-3C16-43E7-870C-049168C25D2B}"/>
                </a:ext>
              </a:extLst>
            </p:cNvPr>
            <p:cNvSpPr/>
            <p:nvPr userDrawn="1"/>
          </p:nvSpPr>
          <p:spPr>
            <a:xfrm>
              <a:off x="2917671" y="3567419"/>
              <a:ext cx="9285297" cy="1230491"/>
            </a:xfrm>
            <a:custGeom>
              <a:avLst/>
              <a:gdLst>
                <a:gd name="connsiteX0" fmla="*/ 9285297 w 9285297"/>
                <a:gd name="connsiteY0" fmla="*/ 0 h 1230491"/>
                <a:gd name="connsiteX1" fmla="*/ 9285297 w 9285297"/>
                <a:gd name="connsiteY1" fmla="*/ 248666 h 1230491"/>
                <a:gd name="connsiteX2" fmla="*/ 9179918 w 9285297"/>
                <a:gd name="connsiteY2" fmla="*/ 272756 h 1230491"/>
                <a:gd name="connsiteX3" fmla="*/ 3039595 w 9285297"/>
                <a:gd name="connsiteY3" fmla="*/ 1146580 h 1230491"/>
                <a:gd name="connsiteX4" fmla="*/ 662859 w 9285297"/>
                <a:gd name="connsiteY4" fmla="*/ 1230491 h 1230491"/>
                <a:gd name="connsiteX5" fmla="*/ 0 w 9285297"/>
                <a:gd name="connsiteY5" fmla="*/ 1220449 h 1230491"/>
                <a:gd name="connsiteX6" fmla="*/ 10388 w 9285297"/>
                <a:gd name="connsiteY6" fmla="*/ 978067 h 1230491"/>
                <a:gd name="connsiteX7" fmla="*/ 3029669 w 9285297"/>
                <a:gd name="connsiteY7" fmla="*/ 904082 h 1230491"/>
                <a:gd name="connsiteX8" fmla="*/ 9133527 w 9285297"/>
                <a:gd name="connsiteY8" fmla="*/ 34712 h 1230491"/>
                <a:gd name="connsiteX9" fmla="*/ 9285297 w 9285297"/>
                <a:gd name="connsiteY9" fmla="*/ 0 h 12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5297" h="1230491">
                  <a:moveTo>
                    <a:pt x="9285297" y="0"/>
                  </a:moveTo>
                  <a:lnTo>
                    <a:pt x="9285297" y="248666"/>
                  </a:lnTo>
                  <a:lnTo>
                    <a:pt x="9179918" y="272756"/>
                  </a:lnTo>
                  <a:cubicBezTo>
                    <a:pt x="6729077" y="814541"/>
                    <a:pt x="4528431" y="1047102"/>
                    <a:pt x="3039595" y="1146580"/>
                  </a:cubicBezTo>
                  <a:cubicBezTo>
                    <a:pt x="2013277" y="1215140"/>
                    <a:pt x="1191831" y="1230491"/>
                    <a:pt x="662859" y="1230491"/>
                  </a:cubicBezTo>
                  <a:cubicBezTo>
                    <a:pt x="240882" y="1230491"/>
                    <a:pt x="4963" y="1220680"/>
                    <a:pt x="0" y="1220449"/>
                  </a:cubicBezTo>
                  <a:lnTo>
                    <a:pt x="10388" y="978067"/>
                  </a:lnTo>
                  <a:cubicBezTo>
                    <a:pt x="21930" y="978644"/>
                    <a:pt x="1195755" y="1026889"/>
                    <a:pt x="3029669" y="904082"/>
                  </a:cubicBezTo>
                  <a:cubicBezTo>
                    <a:pt x="4510022" y="804907"/>
                    <a:pt x="6697766" y="573444"/>
                    <a:pt x="9133527" y="34712"/>
                  </a:cubicBezTo>
                  <a:lnTo>
                    <a:pt x="928529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sp>
          <p:nvSpPr>
            <p:cNvPr id="42" name="Freeform: Shape 41">
              <a:extLst>
                <a:ext uri="{FF2B5EF4-FFF2-40B4-BE49-F238E27FC236}">
                  <a16:creationId xmlns:a16="http://schemas.microsoft.com/office/drawing/2014/main" id="{CB6E0637-89BF-4A6E-AA34-59E5F0C809D4}"/>
                </a:ext>
              </a:extLst>
            </p:cNvPr>
            <p:cNvSpPr/>
            <p:nvPr/>
          </p:nvSpPr>
          <p:spPr>
            <a:xfrm>
              <a:off x="2801559" y="4334337"/>
              <a:ext cx="4861221" cy="463340"/>
            </a:xfrm>
            <a:custGeom>
              <a:avLst/>
              <a:gdLst>
                <a:gd name="connsiteX0" fmla="*/ 848866 w 5348927"/>
                <a:gd name="connsiteY0" fmla="*/ 509825 h 509825"/>
                <a:gd name="connsiteX1" fmla="*/ 127760 w 5348927"/>
                <a:gd name="connsiteY1" fmla="*/ 499030 h 509825"/>
                <a:gd name="connsiteX2" fmla="*/ 125 w 5348927"/>
                <a:gd name="connsiteY2" fmla="*/ 359965 h 509825"/>
                <a:gd name="connsiteX3" fmla="*/ 139190 w 5348927"/>
                <a:gd name="connsiteY3" fmla="*/ 232330 h 509825"/>
                <a:gd name="connsiteX4" fmla="*/ 5198870 w 5348927"/>
                <a:gd name="connsiteY4" fmla="*/ 1063 h 509825"/>
                <a:gd name="connsiteX5" fmla="*/ 5347866 w 5348927"/>
                <a:gd name="connsiteY5" fmla="*/ 116671 h 509825"/>
                <a:gd name="connsiteX6" fmla="*/ 5232246 w 5348927"/>
                <a:gd name="connsiteY6" fmla="*/ 265668 h 509825"/>
                <a:gd name="connsiteX7" fmla="*/ 5226810 w 5348927"/>
                <a:gd name="connsiteY7" fmla="*/ 266239 h 509825"/>
                <a:gd name="connsiteX8" fmla="*/ 848866 w 5348927"/>
                <a:gd name="connsiteY8" fmla="*/ 509825 h 5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8927" h="509825">
                  <a:moveTo>
                    <a:pt x="848866" y="509825"/>
                  </a:moveTo>
                  <a:cubicBezTo>
                    <a:pt x="390650" y="509825"/>
                    <a:pt x="134872" y="499411"/>
                    <a:pt x="127760" y="499030"/>
                  </a:cubicBezTo>
                  <a:cubicBezTo>
                    <a:pt x="54113" y="495868"/>
                    <a:pt x="-3037" y="433613"/>
                    <a:pt x="125" y="359965"/>
                  </a:cubicBezTo>
                  <a:cubicBezTo>
                    <a:pt x="3287" y="286318"/>
                    <a:pt x="65543" y="229168"/>
                    <a:pt x="139190" y="232330"/>
                  </a:cubicBezTo>
                  <a:cubicBezTo>
                    <a:pt x="159510" y="233219"/>
                    <a:pt x="2207512" y="316404"/>
                    <a:pt x="5198870" y="1063"/>
                  </a:cubicBezTo>
                  <a:cubicBezTo>
                    <a:pt x="5271934" y="-8157"/>
                    <a:pt x="5338647" y="43608"/>
                    <a:pt x="5347866" y="116671"/>
                  </a:cubicBezTo>
                  <a:cubicBezTo>
                    <a:pt x="5357074" y="189747"/>
                    <a:pt x="5305322" y="256448"/>
                    <a:pt x="5232246" y="265668"/>
                  </a:cubicBezTo>
                  <a:cubicBezTo>
                    <a:pt x="5230443" y="265896"/>
                    <a:pt x="5228626" y="266087"/>
                    <a:pt x="5226810" y="266239"/>
                  </a:cubicBezTo>
                  <a:cubicBezTo>
                    <a:pt x="3264914" y="473376"/>
                    <a:pt x="1704338" y="509825"/>
                    <a:pt x="848866" y="509825"/>
                  </a:cubicBezTo>
                  <a:close/>
                </a:path>
              </a:pathLst>
            </a:custGeom>
            <a:solidFill>
              <a:schemeClr val="tx1"/>
            </a:solidFill>
            <a:ln w="1270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40811AF-25EF-4CC1-9D75-C9F00AA24E84}"/>
                </a:ext>
              </a:extLst>
            </p:cNvPr>
            <p:cNvSpPr/>
            <p:nvPr/>
          </p:nvSpPr>
          <p:spPr>
            <a:xfrm>
              <a:off x="454409" y="2997467"/>
              <a:ext cx="2589647" cy="3159175"/>
            </a:xfrm>
            <a:custGeom>
              <a:avLst/>
              <a:gdLst>
                <a:gd name="connsiteX0" fmla="*/ 1040975 w 2849455"/>
                <a:gd name="connsiteY0" fmla="*/ 3476117 h 3476122"/>
                <a:gd name="connsiteX1" fmla="*/ 992588 w 2849455"/>
                <a:gd name="connsiteY1" fmla="*/ 3475228 h 3476122"/>
                <a:gd name="connsiteX2" fmla="*/ 264370 w 2849455"/>
                <a:gd name="connsiteY2" fmla="*/ 3111754 h 3476122"/>
                <a:gd name="connsiteX3" fmla="*/ 3766 w 2849455"/>
                <a:gd name="connsiteY3" fmla="*/ 2333625 h 3476122"/>
                <a:gd name="connsiteX4" fmla="*/ 324568 w 2849455"/>
                <a:gd name="connsiteY4" fmla="*/ 1650238 h 3476122"/>
                <a:gd name="connsiteX5" fmla="*/ 830282 w 2849455"/>
                <a:gd name="connsiteY5" fmla="*/ 1345438 h 3476122"/>
                <a:gd name="connsiteX6" fmla="*/ 806406 w 2849455"/>
                <a:gd name="connsiteY6" fmla="*/ 1315212 h 3476122"/>
                <a:gd name="connsiteX7" fmla="*/ 804882 w 2849455"/>
                <a:gd name="connsiteY7" fmla="*/ 1313307 h 3476122"/>
                <a:gd name="connsiteX8" fmla="*/ 529927 w 2849455"/>
                <a:gd name="connsiteY8" fmla="*/ 772033 h 3476122"/>
                <a:gd name="connsiteX9" fmla="*/ 738842 w 2849455"/>
                <a:gd name="connsiteY9" fmla="*/ 211201 h 3476122"/>
                <a:gd name="connsiteX10" fmla="*/ 1265257 w 2849455"/>
                <a:gd name="connsiteY10" fmla="*/ 0 h 3476122"/>
                <a:gd name="connsiteX11" fmla="*/ 1332440 w 2849455"/>
                <a:gd name="connsiteY11" fmla="*/ 2667 h 3476122"/>
                <a:gd name="connsiteX12" fmla="*/ 1956899 w 2849455"/>
                <a:gd name="connsiteY12" fmla="*/ 646557 h 3476122"/>
                <a:gd name="connsiteX13" fmla="*/ 1664799 w 2849455"/>
                <a:gd name="connsiteY13" fmla="*/ 1206246 h 3476122"/>
                <a:gd name="connsiteX14" fmla="*/ 1254843 w 2849455"/>
                <a:gd name="connsiteY14" fmla="*/ 1460246 h 3476122"/>
                <a:gd name="connsiteX15" fmla="*/ 2175466 w 2849455"/>
                <a:gd name="connsiteY15" fmla="*/ 2641981 h 3476122"/>
                <a:gd name="connsiteX16" fmla="*/ 2295608 w 2849455"/>
                <a:gd name="connsiteY16" fmla="*/ 2789555 h 3476122"/>
                <a:gd name="connsiteX17" fmla="*/ 2594058 w 2849455"/>
                <a:gd name="connsiteY17" fmla="*/ 3109214 h 3476122"/>
                <a:gd name="connsiteX18" fmla="*/ 2621998 w 2849455"/>
                <a:gd name="connsiteY18" fmla="*/ 3131947 h 3476122"/>
                <a:gd name="connsiteX19" fmla="*/ 2627840 w 2849455"/>
                <a:gd name="connsiteY19" fmla="*/ 3136900 h 3476122"/>
                <a:gd name="connsiteX20" fmla="*/ 2715343 w 2849455"/>
                <a:gd name="connsiteY20" fmla="*/ 3142361 h 3476122"/>
                <a:gd name="connsiteX21" fmla="*/ 2848693 w 2849455"/>
                <a:gd name="connsiteY21" fmla="*/ 3142361 h 3476122"/>
                <a:gd name="connsiteX22" fmla="*/ 2849455 w 2849455"/>
                <a:gd name="connsiteY22" fmla="*/ 3409061 h 3476122"/>
                <a:gd name="connsiteX23" fmla="*/ 2716105 w 2849455"/>
                <a:gd name="connsiteY23" fmla="*/ 3409061 h 3476122"/>
                <a:gd name="connsiteX24" fmla="*/ 2448008 w 2849455"/>
                <a:gd name="connsiteY24" fmla="*/ 3334131 h 3476122"/>
                <a:gd name="connsiteX25" fmla="*/ 2435308 w 2849455"/>
                <a:gd name="connsiteY25" fmla="*/ 3323336 h 3476122"/>
                <a:gd name="connsiteX26" fmla="*/ 2103203 w 2849455"/>
                <a:gd name="connsiteY26" fmla="*/ 2974340 h 3476122"/>
                <a:gd name="connsiteX27" fmla="*/ 1642066 w 2849455"/>
                <a:gd name="connsiteY27" fmla="*/ 3332734 h 3476122"/>
                <a:gd name="connsiteX28" fmla="*/ 1040975 w 2849455"/>
                <a:gd name="connsiteY28" fmla="*/ 3476117 h 3476122"/>
                <a:gd name="connsiteX29" fmla="*/ 931755 w 2849455"/>
                <a:gd name="connsiteY29" fmla="*/ 1591945 h 3476122"/>
                <a:gd name="connsiteX30" fmla="*/ 506686 w 2849455"/>
                <a:gd name="connsiteY30" fmla="*/ 1844929 h 3476122"/>
                <a:gd name="connsiteX31" fmla="*/ 269704 w 2849455"/>
                <a:gd name="connsiteY31" fmla="*/ 2354326 h 3476122"/>
                <a:gd name="connsiteX32" fmla="*/ 463506 w 2849455"/>
                <a:gd name="connsiteY32" fmla="*/ 2934335 h 3476122"/>
                <a:gd name="connsiteX33" fmla="*/ 1001478 w 2849455"/>
                <a:gd name="connsiteY33" fmla="*/ 3208655 h 3476122"/>
                <a:gd name="connsiteX34" fmla="*/ 1521543 w 2849455"/>
                <a:gd name="connsiteY34" fmla="*/ 3094990 h 3476122"/>
                <a:gd name="connsiteX35" fmla="*/ 1932515 w 2849455"/>
                <a:gd name="connsiteY35" fmla="*/ 2765552 h 3476122"/>
                <a:gd name="connsiteX36" fmla="*/ 1884382 w 2849455"/>
                <a:gd name="connsiteY36" fmla="*/ 2706370 h 3476122"/>
                <a:gd name="connsiteX37" fmla="*/ 1886541 w 2849455"/>
                <a:gd name="connsiteY37" fmla="*/ 2704592 h 3476122"/>
                <a:gd name="connsiteX38" fmla="*/ 1000462 w 2849455"/>
                <a:gd name="connsiteY38" fmla="*/ 1567307 h 3476122"/>
                <a:gd name="connsiteX39" fmla="*/ 2593042 w 2849455"/>
                <a:gd name="connsiteY39" fmla="*/ 3108198 h 3476122"/>
                <a:gd name="connsiteX40" fmla="*/ 2593677 w 2849455"/>
                <a:gd name="connsiteY40" fmla="*/ 3108198 h 3476122"/>
                <a:gd name="connsiteX41" fmla="*/ 1265892 w 2849455"/>
                <a:gd name="connsiteY41" fmla="*/ 266700 h 3476122"/>
                <a:gd name="connsiteX42" fmla="*/ 929088 w 2849455"/>
                <a:gd name="connsiteY42" fmla="*/ 398780 h 3476122"/>
                <a:gd name="connsiteX43" fmla="*/ 796246 w 2849455"/>
                <a:gd name="connsiteY43" fmla="*/ 748284 h 3476122"/>
                <a:gd name="connsiteX44" fmla="*/ 1013543 w 2849455"/>
                <a:gd name="connsiteY44" fmla="*/ 1146429 h 3476122"/>
                <a:gd name="connsiteX45" fmla="*/ 1014813 w 2849455"/>
                <a:gd name="connsiteY45" fmla="*/ 1147953 h 3476122"/>
                <a:gd name="connsiteX46" fmla="*/ 1015575 w 2849455"/>
                <a:gd name="connsiteY46" fmla="*/ 1148969 h 3476122"/>
                <a:gd name="connsiteX47" fmla="*/ 1088981 w 2849455"/>
                <a:gd name="connsiteY47" fmla="*/ 1243076 h 3476122"/>
                <a:gd name="connsiteX48" fmla="*/ 1088981 w 2849455"/>
                <a:gd name="connsiteY48" fmla="*/ 1243076 h 3476122"/>
                <a:gd name="connsiteX49" fmla="*/ 1088981 w 2849455"/>
                <a:gd name="connsiteY49" fmla="*/ 1243076 h 3476122"/>
                <a:gd name="connsiteX50" fmla="*/ 1088981 w 2849455"/>
                <a:gd name="connsiteY50" fmla="*/ 1243076 h 3476122"/>
                <a:gd name="connsiteX51" fmla="*/ 1492333 w 2849455"/>
                <a:gd name="connsiteY51" fmla="*/ 1002665 h 3476122"/>
                <a:gd name="connsiteX52" fmla="*/ 1689945 w 2849455"/>
                <a:gd name="connsiteY52" fmla="*/ 647065 h 3476122"/>
                <a:gd name="connsiteX53" fmla="*/ 1311612 w 2849455"/>
                <a:gd name="connsiteY53" fmla="*/ 267589 h 3476122"/>
                <a:gd name="connsiteX54" fmla="*/ 1265892 w 2849455"/>
                <a:gd name="connsiteY54" fmla="*/ 266700 h 34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49455" h="3476122">
                  <a:moveTo>
                    <a:pt x="1040975" y="3476117"/>
                  </a:moveTo>
                  <a:cubicBezTo>
                    <a:pt x="1024973" y="3476117"/>
                    <a:pt x="1008717" y="3476117"/>
                    <a:pt x="992588" y="3475228"/>
                  </a:cubicBezTo>
                  <a:cubicBezTo>
                    <a:pt x="727666" y="3466465"/>
                    <a:pt x="462236" y="3333877"/>
                    <a:pt x="264370" y="3111754"/>
                  </a:cubicBezTo>
                  <a:cubicBezTo>
                    <a:pt x="73761" y="2899499"/>
                    <a:pt x="-20564" y="2617864"/>
                    <a:pt x="3766" y="2333625"/>
                  </a:cubicBezTo>
                  <a:cubicBezTo>
                    <a:pt x="24594" y="2056511"/>
                    <a:pt x="129496" y="1832610"/>
                    <a:pt x="324568" y="1650238"/>
                  </a:cubicBezTo>
                  <a:cubicBezTo>
                    <a:pt x="493986" y="1491615"/>
                    <a:pt x="692868" y="1400429"/>
                    <a:pt x="830282" y="1345438"/>
                  </a:cubicBezTo>
                  <a:lnTo>
                    <a:pt x="806406" y="1315212"/>
                  </a:lnTo>
                  <a:lnTo>
                    <a:pt x="804882" y="1313307"/>
                  </a:lnTo>
                  <a:cubicBezTo>
                    <a:pt x="678898" y="1154938"/>
                    <a:pt x="549485" y="991997"/>
                    <a:pt x="529927" y="772033"/>
                  </a:cubicBezTo>
                  <a:cubicBezTo>
                    <a:pt x="512401" y="574548"/>
                    <a:pt x="592792" y="359664"/>
                    <a:pt x="738842" y="211201"/>
                  </a:cubicBezTo>
                  <a:cubicBezTo>
                    <a:pt x="876002" y="72898"/>
                    <a:pt x="1057993" y="0"/>
                    <a:pt x="1265257" y="0"/>
                  </a:cubicBezTo>
                  <a:cubicBezTo>
                    <a:pt x="1288879" y="0"/>
                    <a:pt x="1310850" y="889"/>
                    <a:pt x="1332440" y="2667"/>
                  </a:cubicBezTo>
                  <a:cubicBezTo>
                    <a:pt x="1697565" y="29337"/>
                    <a:pt x="1954740" y="294132"/>
                    <a:pt x="1956899" y="646557"/>
                  </a:cubicBezTo>
                  <a:cubicBezTo>
                    <a:pt x="1957915" y="852678"/>
                    <a:pt x="1859871" y="1040257"/>
                    <a:pt x="1664799" y="1206246"/>
                  </a:cubicBezTo>
                  <a:cubicBezTo>
                    <a:pt x="1559262" y="1295781"/>
                    <a:pt x="1424642" y="1379220"/>
                    <a:pt x="1254843" y="1460246"/>
                  </a:cubicBezTo>
                  <a:lnTo>
                    <a:pt x="2175466" y="2641981"/>
                  </a:lnTo>
                  <a:lnTo>
                    <a:pt x="2295608" y="2789555"/>
                  </a:lnTo>
                  <a:cubicBezTo>
                    <a:pt x="2437594" y="2952369"/>
                    <a:pt x="2568404" y="3088005"/>
                    <a:pt x="2594058" y="3109214"/>
                  </a:cubicBezTo>
                  <a:cubicBezTo>
                    <a:pt x="2605869" y="3117977"/>
                    <a:pt x="2615140" y="3125978"/>
                    <a:pt x="2621998" y="3131947"/>
                  </a:cubicBezTo>
                  <a:lnTo>
                    <a:pt x="2627840" y="3136900"/>
                  </a:lnTo>
                  <a:cubicBezTo>
                    <a:pt x="2656733" y="3141764"/>
                    <a:pt x="2686070" y="3143593"/>
                    <a:pt x="2715343" y="3142361"/>
                  </a:cubicBezTo>
                  <a:lnTo>
                    <a:pt x="2848693" y="3142361"/>
                  </a:lnTo>
                  <a:lnTo>
                    <a:pt x="2849455" y="3409061"/>
                  </a:lnTo>
                  <a:lnTo>
                    <a:pt x="2716105" y="3409061"/>
                  </a:lnTo>
                  <a:cubicBezTo>
                    <a:pt x="2561419" y="3409061"/>
                    <a:pt x="2508714" y="3386201"/>
                    <a:pt x="2448008" y="3334131"/>
                  </a:cubicBezTo>
                  <a:cubicBezTo>
                    <a:pt x="2443055" y="3329813"/>
                    <a:pt x="2438991" y="3326384"/>
                    <a:pt x="2435308" y="3323336"/>
                  </a:cubicBezTo>
                  <a:cubicBezTo>
                    <a:pt x="2384508" y="3286252"/>
                    <a:pt x="2211153" y="3097657"/>
                    <a:pt x="2103203" y="2974340"/>
                  </a:cubicBezTo>
                  <a:cubicBezTo>
                    <a:pt x="1960455" y="3129534"/>
                    <a:pt x="1805515" y="3249930"/>
                    <a:pt x="1642066" y="3332734"/>
                  </a:cubicBezTo>
                  <a:cubicBezTo>
                    <a:pt x="1455935" y="3427603"/>
                    <a:pt x="1249890" y="3476752"/>
                    <a:pt x="1040975" y="3476117"/>
                  </a:cubicBezTo>
                  <a:close/>
                  <a:moveTo>
                    <a:pt x="931755" y="1591945"/>
                  </a:moveTo>
                  <a:cubicBezTo>
                    <a:pt x="814788" y="1638935"/>
                    <a:pt x="644481" y="1716151"/>
                    <a:pt x="506686" y="1844929"/>
                  </a:cubicBezTo>
                  <a:cubicBezTo>
                    <a:pt x="360763" y="1981454"/>
                    <a:pt x="285452" y="2143379"/>
                    <a:pt x="269704" y="2354326"/>
                  </a:cubicBezTo>
                  <a:cubicBezTo>
                    <a:pt x="251301" y="2566149"/>
                    <a:pt x="321463" y="2776131"/>
                    <a:pt x="463506" y="2934335"/>
                  </a:cubicBezTo>
                  <a:cubicBezTo>
                    <a:pt x="613112" y="3102356"/>
                    <a:pt x="809200" y="3202305"/>
                    <a:pt x="1001478" y="3208655"/>
                  </a:cubicBezTo>
                  <a:cubicBezTo>
                    <a:pt x="1181691" y="3215780"/>
                    <a:pt x="1360736" y="3176651"/>
                    <a:pt x="1521543" y="3094990"/>
                  </a:cubicBezTo>
                  <a:cubicBezTo>
                    <a:pt x="1666069" y="3021711"/>
                    <a:pt x="1804245" y="2910967"/>
                    <a:pt x="1932515" y="2765552"/>
                  </a:cubicBezTo>
                  <a:lnTo>
                    <a:pt x="1884382" y="2706370"/>
                  </a:lnTo>
                  <a:lnTo>
                    <a:pt x="1886541" y="2704592"/>
                  </a:lnTo>
                  <a:lnTo>
                    <a:pt x="1000462" y="1567307"/>
                  </a:lnTo>
                  <a:close/>
                  <a:moveTo>
                    <a:pt x="2593042" y="3108198"/>
                  </a:moveTo>
                  <a:lnTo>
                    <a:pt x="2593677" y="3108198"/>
                  </a:lnTo>
                  <a:close/>
                  <a:moveTo>
                    <a:pt x="1265892" y="266700"/>
                  </a:moveTo>
                  <a:cubicBezTo>
                    <a:pt x="1131272" y="266700"/>
                    <a:pt x="1014813" y="312420"/>
                    <a:pt x="929088" y="398780"/>
                  </a:cubicBezTo>
                  <a:cubicBezTo>
                    <a:pt x="837775" y="491363"/>
                    <a:pt x="785578" y="628650"/>
                    <a:pt x="796246" y="748284"/>
                  </a:cubicBezTo>
                  <a:cubicBezTo>
                    <a:pt x="808946" y="888746"/>
                    <a:pt x="903688" y="1008126"/>
                    <a:pt x="1013543" y="1146429"/>
                  </a:cubicBezTo>
                  <a:lnTo>
                    <a:pt x="1014813" y="1147953"/>
                  </a:lnTo>
                  <a:lnTo>
                    <a:pt x="1015575" y="1148969"/>
                  </a:lnTo>
                  <a:cubicBezTo>
                    <a:pt x="1037038" y="1176020"/>
                    <a:pt x="1063708" y="1209548"/>
                    <a:pt x="1088981" y="1243076"/>
                  </a:cubicBezTo>
                  <a:lnTo>
                    <a:pt x="1088981" y="1243076"/>
                  </a:lnTo>
                  <a:lnTo>
                    <a:pt x="1088981" y="1243076"/>
                  </a:lnTo>
                  <a:lnTo>
                    <a:pt x="1088981" y="1243076"/>
                  </a:lnTo>
                  <a:cubicBezTo>
                    <a:pt x="1262590" y="1164336"/>
                    <a:pt x="1394543" y="1085596"/>
                    <a:pt x="1492333" y="1002665"/>
                  </a:cubicBezTo>
                  <a:cubicBezTo>
                    <a:pt x="1624032" y="890778"/>
                    <a:pt x="1690580" y="771398"/>
                    <a:pt x="1689945" y="647065"/>
                  </a:cubicBezTo>
                  <a:cubicBezTo>
                    <a:pt x="1688675" y="433324"/>
                    <a:pt x="1540212" y="284353"/>
                    <a:pt x="1311612" y="267589"/>
                  </a:cubicBezTo>
                  <a:cubicBezTo>
                    <a:pt x="1296372" y="267208"/>
                    <a:pt x="1281513" y="266700"/>
                    <a:pt x="1265892" y="266700"/>
                  </a:cubicBezTo>
                  <a:close/>
                </a:path>
              </a:pathLst>
            </a:custGeom>
            <a:solidFill>
              <a:schemeClr val="tx1"/>
            </a:solidFill>
            <a:ln w="1270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E926507F-ED8C-4F51-867C-559B7855D4C8}"/>
                </a:ext>
              </a:extLst>
            </p:cNvPr>
            <p:cNvSpPr/>
            <p:nvPr/>
          </p:nvSpPr>
          <p:spPr>
            <a:xfrm>
              <a:off x="2196074" y="4545830"/>
              <a:ext cx="2005954" cy="1148317"/>
            </a:xfrm>
            <a:custGeom>
              <a:avLst/>
              <a:gdLst>
                <a:gd name="connsiteX0" fmla="*/ 133592 w 2207203"/>
                <a:gd name="connsiteY0" fmla="*/ 1263523 h 1263523"/>
                <a:gd name="connsiteX1" fmla="*/ 0 w 2207203"/>
                <a:gd name="connsiteY1" fmla="*/ 1130161 h 1263523"/>
                <a:gd name="connsiteX2" fmla="*/ 35293 w 2207203"/>
                <a:gd name="connsiteY2" fmla="*/ 1039622 h 1263523"/>
                <a:gd name="connsiteX3" fmla="*/ 54851 w 2207203"/>
                <a:gd name="connsiteY3" fmla="*/ 1017397 h 1263523"/>
                <a:gd name="connsiteX4" fmla="*/ 125971 w 2207203"/>
                <a:gd name="connsiteY4" fmla="*/ 928497 h 1263523"/>
                <a:gd name="connsiteX5" fmla="*/ 154546 w 2207203"/>
                <a:gd name="connsiteY5" fmla="*/ 890397 h 1263523"/>
                <a:gd name="connsiteX6" fmla="*/ 178803 w 2207203"/>
                <a:gd name="connsiteY6" fmla="*/ 849503 h 1263523"/>
                <a:gd name="connsiteX7" fmla="*/ 216903 w 2207203"/>
                <a:gd name="connsiteY7" fmla="*/ 772160 h 1263523"/>
                <a:gd name="connsiteX8" fmla="*/ 243827 w 2207203"/>
                <a:gd name="connsiteY8" fmla="*/ 708660 h 1263523"/>
                <a:gd name="connsiteX9" fmla="*/ 262623 w 2207203"/>
                <a:gd name="connsiteY9" fmla="*/ 648970 h 1263523"/>
                <a:gd name="connsiteX10" fmla="*/ 277228 w 2207203"/>
                <a:gd name="connsiteY10" fmla="*/ 581406 h 1263523"/>
                <a:gd name="connsiteX11" fmla="*/ 288658 w 2207203"/>
                <a:gd name="connsiteY11" fmla="*/ 496824 h 1263523"/>
                <a:gd name="connsiteX12" fmla="*/ 298437 w 2207203"/>
                <a:gd name="connsiteY12" fmla="*/ 387477 h 1263523"/>
                <a:gd name="connsiteX13" fmla="*/ 299072 w 2207203"/>
                <a:gd name="connsiteY13" fmla="*/ 378714 h 1263523"/>
                <a:gd name="connsiteX14" fmla="*/ 307836 w 2207203"/>
                <a:gd name="connsiteY14" fmla="*/ 249047 h 1263523"/>
                <a:gd name="connsiteX15" fmla="*/ 313677 w 2207203"/>
                <a:gd name="connsiteY15" fmla="*/ 127000 h 1263523"/>
                <a:gd name="connsiteX16" fmla="*/ 446900 w 2207203"/>
                <a:gd name="connsiteY16" fmla="*/ 0 h 1263523"/>
                <a:gd name="connsiteX17" fmla="*/ 805040 w 2207203"/>
                <a:gd name="connsiteY17" fmla="*/ 0 h 1263523"/>
                <a:gd name="connsiteX18" fmla="*/ 2071611 w 2207203"/>
                <a:gd name="connsiteY18" fmla="*/ 6350 h 1263523"/>
                <a:gd name="connsiteX19" fmla="*/ 2207184 w 2207203"/>
                <a:gd name="connsiteY19" fmla="*/ 137478 h 1263523"/>
                <a:gd name="connsiteX20" fmla="*/ 2076057 w 2207203"/>
                <a:gd name="connsiteY20" fmla="*/ 273050 h 1263523"/>
                <a:gd name="connsiteX21" fmla="*/ 796531 w 2207203"/>
                <a:gd name="connsiteY21" fmla="*/ 266573 h 1263523"/>
                <a:gd name="connsiteX22" fmla="*/ 574281 w 2207203"/>
                <a:gd name="connsiteY22" fmla="*/ 266573 h 1263523"/>
                <a:gd name="connsiteX23" fmla="*/ 565518 w 2207203"/>
                <a:gd name="connsiteY23" fmla="*/ 398780 h 1263523"/>
                <a:gd name="connsiteX24" fmla="*/ 564756 w 2207203"/>
                <a:gd name="connsiteY24" fmla="*/ 407416 h 1263523"/>
                <a:gd name="connsiteX25" fmla="*/ 554215 w 2207203"/>
                <a:gd name="connsiteY25" fmla="*/ 525653 h 1263523"/>
                <a:gd name="connsiteX26" fmla="*/ 540499 w 2207203"/>
                <a:gd name="connsiteY26" fmla="*/ 626237 h 1263523"/>
                <a:gd name="connsiteX27" fmla="*/ 520942 w 2207203"/>
                <a:gd name="connsiteY27" fmla="*/ 716915 h 1263523"/>
                <a:gd name="connsiteX28" fmla="*/ 494271 w 2207203"/>
                <a:gd name="connsiteY28" fmla="*/ 801243 h 1263523"/>
                <a:gd name="connsiteX29" fmla="*/ 459473 w 2207203"/>
                <a:gd name="connsiteY29" fmla="*/ 884428 h 1263523"/>
                <a:gd name="connsiteX30" fmla="*/ 416167 w 2207203"/>
                <a:gd name="connsiteY30" fmla="*/ 972185 h 1263523"/>
                <a:gd name="connsiteX31" fmla="*/ 368542 w 2207203"/>
                <a:gd name="connsiteY31" fmla="*/ 1050417 h 1263523"/>
                <a:gd name="connsiteX32" fmla="*/ 338061 w 2207203"/>
                <a:gd name="connsiteY32" fmla="*/ 1090549 h 1263523"/>
                <a:gd name="connsiteX33" fmla="*/ 258433 w 2207203"/>
                <a:gd name="connsiteY33" fmla="*/ 1190371 h 1263523"/>
                <a:gd name="connsiteX34" fmla="*/ 231636 w 2207203"/>
                <a:gd name="connsiteY34" fmla="*/ 1220851 h 1263523"/>
                <a:gd name="connsiteX35" fmla="*/ 133592 w 2207203"/>
                <a:gd name="connsiteY35" fmla="*/ 1263523 h 126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7203" h="1263523">
                  <a:moveTo>
                    <a:pt x="133592" y="1263523"/>
                  </a:moveTo>
                  <a:cubicBezTo>
                    <a:pt x="59881" y="1263587"/>
                    <a:pt x="64" y="1203884"/>
                    <a:pt x="0" y="1130161"/>
                  </a:cubicBezTo>
                  <a:cubicBezTo>
                    <a:pt x="-25" y="1096620"/>
                    <a:pt x="12573" y="1064298"/>
                    <a:pt x="35293" y="1039622"/>
                  </a:cubicBezTo>
                  <a:cubicBezTo>
                    <a:pt x="42024" y="1032383"/>
                    <a:pt x="47993" y="1025017"/>
                    <a:pt x="54851" y="1017397"/>
                  </a:cubicBezTo>
                  <a:cubicBezTo>
                    <a:pt x="80251" y="987298"/>
                    <a:pt x="105651" y="955421"/>
                    <a:pt x="125971" y="928497"/>
                  </a:cubicBezTo>
                  <a:cubicBezTo>
                    <a:pt x="135750" y="915797"/>
                    <a:pt x="145275" y="903097"/>
                    <a:pt x="154546" y="890397"/>
                  </a:cubicBezTo>
                  <a:cubicBezTo>
                    <a:pt x="163729" y="877443"/>
                    <a:pt x="171844" y="863765"/>
                    <a:pt x="178803" y="849503"/>
                  </a:cubicBezTo>
                  <a:cubicBezTo>
                    <a:pt x="194297" y="819404"/>
                    <a:pt x="206362" y="794893"/>
                    <a:pt x="216903" y="772160"/>
                  </a:cubicBezTo>
                  <a:cubicBezTo>
                    <a:pt x="227444" y="749427"/>
                    <a:pt x="236334" y="728091"/>
                    <a:pt x="243827" y="708660"/>
                  </a:cubicBezTo>
                  <a:cubicBezTo>
                    <a:pt x="251320" y="689229"/>
                    <a:pt x="257670" y="668274"/>
                    <a:pt x="262623" y="648970"/>
                  </a:cubicBezTo>
                  <a:cubicBezTo>
                    <a:pt x="267576" y="629666"/>
                    <a:pt x="272911" y="606298"/>
                    <a:pt x="277228" y="581406"/>
                  </a:cubicBezTo>
                  <a:cubicBezTo>
                    <a:pt x="281546" y="556514"/>
                    <a:pt x="285102" y="529463"/>
                    <a:pt x="288658" y="496824"/>
                  </a:cubicBezTo>
                  <a:cubicBezTo>
                    <a:pt x="292214" y="464185"/>
                    <a:pt x="295389" y="428879"/>
                    <a:pt x="298437" y="387477"/>
                  </a:cubicBezTo>
                  <a:lnTo>
                    <a:pt x="299072" y="378714"/>
                  </a:lnTo>
                  <a:cubicBezTo>
                    <a:pt x="302501" y="334010"/>
                    <a:pt x="305676" y="291719"/>
                    <a:pt x="307836" y="249047"/>
                  </a:cubicBezTo>
                  <a:lnTo>
                    <a:pt x="313677" y="127000"/>
                  </a:lnTo>
                  <a:cubicBezTo>
                    <a:pt x="317132" y="55918"/>
                    <a:pt x="375742" y="51"/>
                    <a:pt x="446900" y="0"/>
                  </a:cubicBezTo>
                  <a:lnTo>
                    <a:pt x="805040" y="0"/>
                  </a:lnTo>
                  <a:cubicBezTo>
                    <a:pt x="809612" y="0"/>
                    <a:pt x="1273671" y="19685"/>
                    <a:pt x="2071611" y="6350"/>
                  </a:cubicBezTo>
                  <a:cubicBezTo>
                    <a:pt x="2145259" y="5118"/>
                    <a:pt x="2205952" y="63830"/>
                    <a:pt x="2207184" y="137478"/>
                  </a:cubicBezTo>
                  <a:cubicBezTo>
                    <a:pt x="2208416" y="211125"/>
                    <a:pt x="2149704" y="271818"/>
                    <a:pt x="2076057" y="273050"/>
                  </a:cubicBezTo>
                  <a:cubicBezTo>
                    <a:pt x="1303134" y="285750"/>
                    <a:pt x="838187" y="268351"/>
                    <a:pt x="796531" y="266573"/>
                  </a:cubicBezTo>
                  <a:lnTo>
                    <a:pt x="574281" y="266573"/>
                  </a:lnTo>
                  <a:cubicBezTo>
                    <a:pt x="572123" y="311277"/>
                    <a:pt x="568693" y="355473"/>
                    <a:pt x="565518" y="398780"/>
                  </a:cubicBezTo>
                  <a:lnTo>
                    <a:pt x="564756" y="407416"/>
                  </a:lnTo>
                  <a:cubicBezTo>
                    <a:pt x="561454" y="451612"/>
                    <a:pt x="558026" y="490347"/>
                    <a:pt x="554215" y="525653"/>
                  </a:cubicBezTo>
                  <a:cubicBezTo>
                    <a:pt x="550024" y="563753"/>
                    <a:pt x="545579" y="596138"/>
                    <a:pt x="540499" y="626237"/>
                  </a:cubicBezTo>
                  <a:cubicBezTo>
                    <a:pt x="534784" y="659384"/>
                    <a:pt x="528434" y="688848"/>
                    <a:pt x="520942" y="716915"/>
                  </a:cubicBezTo>
                  <a:cubicBezTo>
                    <a:pt x="513448" y="744982"/>
                    <a:pt x="504812" y="772541"/>
                    <a:pt x="494271" y="801243"/>
                  </a:cubicBezTo>
                  <a:cubicBezTo>
                    <a:pt x="484365" y="827913"/>
                    <a:pt x="472936" y="854964"/>
                    <a:pt x="459473" y="884428"/>
                  </a:cubicBezTo>
                  <a:cubicBezTo>
                    <a:pt x="446773" y="911098"/>
                    <a:pt x="433311" y="938784"/>
                    <a:pt x="416167" y="972185"/>
                  </a:cubicBezTo>
                  <a:cubicBezTo>
                    <a:pt x="402514" y="999554"/>
                    <a:pt x="386575" y="1025716"/>
                    <a:pt x="368542" y="1050417"/>
                  </a:cubicBezTo>
                  <a:cubicBezTo>
                    <a:pt x="358762" y="1063117"/>
                    <a:pt x="348475" y="1077087"/>
                    <a:pt x="338061" y="1090549"/>
                  </a:cubicBezTo>
                  <a:cubicBezTo>
                    <a:pt x="315455" y="1120140"/>
                    <a:pt x="288023" y="1155446"/>
                    <a:pt x="258433" y="1190371"/>
                  </a:cubicBezTo>
                  <a:cubicBezTo>
                    <a:pt x="249669" y="1200785"/>
                    <a:pt x="240779" y="1210945"/>
                    <a:pt x="231636" y="1220851"/>
                  </a:cubicBezTo>
                  <a:cubicBezTo>
                    <a:pt x="206324" y="1248118"/>
                    <a:pt x="170790" y="1263587"/>
                    <a:pt x="133592" y="1263523"/>
                  </a:cubicBezTo>
                  <a:close/>
                </a:path>
              </a:pathLst>
            </a:custGeom>
            <a:solidFill>
              <a:srgbClr val="333D47"/>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13650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10752138" cy="720000"/>
          </a:xfrm>
        </p:spPr>
        <p:txBody>
          <a:bodyPr/>
          <a:lstStyle/>
          <a:p>
            <a:r>
              <a:rPr lang="en-US"/>
              <a:t>Click to edit Master title style</a:t>
            </a:r>
            <a:endParaRPr lang="en-GB" dirty="0"/>
          </a:p>
        </p:txBody>
      </p:sp>
    </p:spTree>
    <p:extLst>
      <p:ext uri="{BB962C8B-B14F-4D97-AF65-F5344CB8AC3E}">
        <p14:creationId xmlns:p14="http://schemas.microsoft.com/office/powerpoint/2010/main" val="1847033326"/>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67195B01-251E-4F55-9C90-D997DDCDBF20}"/>
              </a:ext>
            </a:extLst>
          </p:cNvPr>
          <p:cNvSpPr/>
          <p:nvPr userDrawn="1"/>
        </p:nvSpPr>
        <p:spPr>
          <a:xfrm>
            <a:off x="7441294" y="4545904"/>
            <a:ext cx="4750706" cy="242355"/>
          </a:xfrm>
          <a:custGeom>
            <a:avLst/>
            <a:gdLst>
              <a:gd name="connsiteX0" fmla="*/ 121178 w 4750706"/>
              <a:gd name="connsiteY0" fmla="*/ 0 h 242355"/>
              <a:gd name="connsiteX1" fmla="*/ 4750706 w 4750706"/>
              <a:gd name="connsiteY1" fmla="*/ 0 h 242355"/>
              <a:gd name="connsiteX2" fmla="*/ 4750706 w 4750706"/>
              <a:gd name="connsiteY2" fmla="*/ 242355 h 242355"/>
              <a:gd name="connsiteX3" fmla="*/ 121178 w 4750706"/>
              <a:gd name="connsiteY3" fmla="*/ 242355 h 242355"/>
              <a:gd name="connsiteX4" fmla="*/ 0 w 4750706"/>
              <a:gd name="connsiteY4" fmla="*/ 121178 h 242355"/>
              <a:gd name="connsiteX5" fmla="*/ 121178 w 4750706"/>
              <a:gd name="connsiteY5" fmla="*/ 0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0706" h="242355">
                <a:moveTo>
                  <a:pt x="121178" y="0"/>
                </a:moveTo>
                <a:lnTo>
                  <a:pt x="4750706" y="0"/>
                </a:lnTo>
                <a:lnTo>
                  <a:pt x="4750706" y="242355"/>
                </a:lnTo>
                <a:lnTo>
                  <a:pt x="121178" y="242355"/>
                </a:lnTo>
                <a:cubicBezTo>
                  <a:pt x="54253" y="242355"/>
                  <a:pt x="0" y="188102"/>
                  <a:pt x="0" y="121178"/>
                </a:cubicBezTo>
                <a:cubicBezTo>
                  <a:pt x="0" y="54253"/>
                  <a:pt x="54253" y="0"/>
                  <a:pt x="12117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18" name="Freeform: Shape 17">
            <a:extLst>
              <a:ext uri="{FF2B5EF4-FFF2-40B4-BE49-F238E27FC236}">
                <a16:creationId xmlns:a16="http://schemas.microsoft.com/office/drawing/2014/main" id="{A267C1ED-C691-4356-925A-A73041BB43C3}"/>
              </a:ext>
            </a:extLst>
          </p:cNvPr>
          <p:cNvSpPr/>
          <p:nvPr userDrawn="1"/>
        </p:nvSpPr>
        <p:spPr>
          <a:xfrm>
            <a:off x="0" y="3"/>
            <a:ext cx="12193141" cy="6858001"/>
          </a:xfrm>
          <a:custGeom>
            <a:avLst/>
            <a:gdLst>
              <a:gd name="connsiteX0" fmla="*/ 0 w 1100903"/>
              <a:gd name="connsiteY0" fmla="*/ 0 h 619200"/>
              <a:gd name="connsiteX1" fmla="*/ 1100903 w 1100903"/>
              <a:gd name="connsiteY1" fmla="*/ 0 h 619200"/>
              <a:gd name="connsiteX2" fmla="*/ 1100903 w 1100903"/>
              <a:gd name="connsiteY2" fmla="*/ 619200 h 619200"/>
              <a:gd name="connsiteX3" fmla="*/ 0 w 1100903"/>
              <a:gd name="connsiteY3" fmla="*/ 619200 h 619200"/>
            </a:gdLst>
            <a:ahLst/>
            <a:cxnLst>
              <a:cxn ang="0">
                <a:pos x="connsiteX0" y="connsiteY0"/>
              </a:cxn>
              <a:cxn ang="0">
                <a:pos x="connsiteX1" y="connsiteY1"/>
              </a:cxn>
              <a:cxn ang="0">
                <a:pos x="connsiteX2" y="connsiteY2"/>
              </a:cxn>
              <a:cxn ang="0">
                <a:pos x="connsiteX3" y="connsiteY3"/>
              </a:cxn>
            </a:cxnLst>
            <a:rect l="l" t="t" r="r" b="b"/>
            <a:pathLst>
              <a:path w="1100903" h="619200">
                <a:moveTo>
                  <a:pt x="0" y="0"/>
                </a:moveTo>
                <a:lnTo>
                  <a:pt x="1100903" y="0"/>
                </a:lnTo>
                <a:lnTo>
                  <a:pt x="1100903" y="619200"/>
                </a:lnTo>
                <a:lnTo>
                  <a:pt x="0" y="619200"/>
                </a:lnTo>
                <a:close/>
              </a:path>
            </a:pathLst>
          </a:custGeom>
          <a:noFill/>
          <a:ln w="114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786E751-57D9-4C2B-A06E-60CD5FE60C97}"/>
              </a:ext>
            </a:extLst>
          </p:cNvPr>
          <p:cNvSpPr/>
          <p:nvPr/>
        </p:nvSpPr>
        <p:spPr>
          <a:xfrm>
            <a:off x="-1" y="-49108"/>
            <a:ext cx="12192125" cy="6857999"/>
          </a:xfrm>
          <a:custGeom>
            <a:avLst/>
            <a:gdLst>
              <a:gd name="connsiteX0" fmla="*/ 0 w 12192125"/>
              <a:gd name="connsiteY0" fmla="*/ 0 h 6857999"/>
              <a:gd name="connsiteX1" fmla="*/ 12192126 w 12192125"/>
              <a:gd name="connsiteY1" fmla="*/ 0 h 6857999"/>
              <a:gd name="connsiteX2" fmla="*/ 12192126 w 12192125"/>
              <a:gd name="connsiteY2" fmla="*/ 6857999 h 6857999"/>
              <a:gd name="connsiteX3" fmla="*/ 0 w 1219212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125" h="6857999">
                <a:moveTo>
                  <a:pt x="0" y="0"/>
                </a:moveTo>
                <a:lnTo>
                  <a:pt x="12192126" y="0"/>
                </a:lnTo>
                <a:lnTo>
                  <a:pt x="12192126" y="6857999"/>
                </a:lnTo>
                <a:lnTo>
                  <a:pt x="0" y="6857999"/>
                </a:lnTo>
                <a:close/>
              </a:path>
            </a:pathLst>
          </a:custGeom>
          <a:noFill/>
          <a:ln w="1269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F2B3881-4330-4017-A73B-0482E4BA5A07}"/>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826C91B-FE38-4E67-81B3-F37DF7FA9765}"/>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A8B3DCA-50C5-4313-B797-318FE3CECA01}"/>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49E25AF8-DB78-48DE-9F1A-C4EE739E577D}"/>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BCA0938-8A11-4B15-956F-3550D2AF9C90}"/>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9691F4C-685D-4CDA-A320-97078A5E588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66DC782-5573-42F8-9128-BAE8D5B23626}"/>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EB7EFBA-995D-493D-B032-7FAD4708FEDE}"/>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35991226-06AD-4618-AF4B-05632532D59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793C5B4-9752-4964-9D24-8870AE4659C6}"/>
              </a:ext>
            </a:extLst>
          </p:cNvPr>
          <p:cNvSpPr/>
          <p:nvPr/>
        </p:nvSpPr>
        <p:spPr>
          <a:xfrm>
            <a:off x="454409" y="2997716"/>
            <a:ext cx="2588256" cy="3158926"/>
          </a:xfrm>
          <a:custGeom>
            <a:avLst/>
            <a:gdLst>
              <a:gd name="connsiteX0" fmla="*/ 1040913 w 2848250"/>
              <a:gd name="connsiteY0" fmla="*/ 3476244 h 3476245"/>
              <a:gd name="connsiteX1" fmla="*/ 992526 w 2848250"/>
              <a:gd name="connsiteY1" fmla="*/ 3475355 h 3476245"/>
              <a:gd name="connsiteX2" fmla="*/ 264308 w 2848250"/>
              <a:gd name="connsiteY2" fmla="*/ 3112008 h 3476245"/>
              <a:gd name="connsiteX3" fmla="*/ 3831 w 2848250"/>
              <a:gd name="connsiteY3" fmla="*/ 2333244 h 3476245"/>
              <a:gd name="connsiteX4" fmla="*/ 324506 w 2848250"/>
              <a:gd name="connsiteY4" fmla="*/ 1649984 h 3476245"/>
              <a:gd name="connsiteX5" fmla="*/ 830093 w 2848250"/>
              <a:gd name="connsiteY5" fmla="*/ 1345184 h 3476245"/>
              <a:gd name="connsiteX6" fmla="*/ 805963 w 2848250"/>
              <a:gd name="connsiteY6" fmla="*/ 1314704 h 3476245"/>
              <a:gd name="connsiteX7" fmla="*/ 804312 w 2848250"/>
              <a:gd name="connsiteY7" fmla="*/ 1312672 h 3476245"/>
              <a:gd name="connsiteX8" fmla="*/ 529865 w 2848250"/>
              <a:gd name="connsiteY8" fmla="*/ 771906 h 3476245"/>
              <a:gd name="connsiteX9" fmla="*/ 738653 w 2848250"/>
              <a:gd name="connsiteY9" fmla="*/ 211201 h 3476245"/>
              <a:gd name="connsiteX10" fmla="*/ 1265068 w 2848250"/>
              <a:gd name="connsiteY10" fmla="*/ 0 h 3476245"/>
              <a:gd name="connsiteX11" fmla="*/ 1332251 w 2848250"/>
              <a:gd name="connsiteY11" fmla="*/ 2667 h 3476245"/>
              <a:gd name="connsiteX12" fmla="*/ 1956583 w 2848250"/>
              <a:gd name="connsiteY12" fmla="*/ 646430 h 3476245"/>
              <a:gd name="connsiteX13" fmla="*/ 1664483 w 2848250"/>
              <a:gd name="connsiteY13" fmla="*/ 1206119 h 3476245"/>
              <a:gd name="connsiteX14" fmla="*/ 1254527 w 2848250"/>
              <a:gd name="connsiteY14" fmla="*/ 1460119 h 3476245"/>
              <a:gd name="connsiteX15" fmla="*/ 2175404 w 2848250"/>
              <a:gd name="connsiteY15" fmla="*/ 2642108 h 3476245"/>
              <a:gd name="connsiteX16" fmla="*/ 2295165 w 2848250"/>
              <a:gd name="connsiteY16" fmla="*/ 2789174 h 3476245"/>
              <a:gd name="connsiteX17" fmla="*/ 2593488 w 2848250"/>
              <a:gd name="connsiteY17" fmla="*/ 3108833 h 3476245"/>
              <a:gd name="connsiteX18" fmla="*/ 2621429 w 2848250"/>
              <a:gd name="connsiteY18" fmla="*/ 3131439 h 3476245"/>
              <a:gd name="connsiteX19" fmla="*/ 2627270 w 2848250"/>
              <a:gd name="connsiteY19" fmla="*/ 3136392 h 3476245"/>
              <a:gd name="connsiteX20" fmla="*/ 2714900 w 2848250"/>
              <a:gd name="connsiteY20" fmla="*/ 3141853 h 3476245"/>
              <a:gd name="connsiteX21" fmla="*/ 2848250 w 2848250"/>
              <a:gd name="connsiteY21" fmla="*/ 3141853 h 3476245"/>
              <a:gd name="connsiteX22" fmla="*/ 2848250 w 2848250"/>
              <a:gd name="connsiteY22" fmla="*/ 3408553 h 3476245"/>
              <a:gd name="connsiteX23" fmla="*/ 2714900 w 2848250"/>
              <a:gd name="connsiteY23" fmla="*/ 3408553 h 3476245"/>
              <a:gd name="connsiteX24" fmla="*/ 2446930 w 2848250"/>
              <a:gd name="connsiteY24" fmla="*/ 3333623 h 3476245"/>
              <a:gd name="connsiteX25" fmla="*/ 2434230 w 2848250"/>
              <a:gd name="connsiteY25" fmla="*/ 3322955 h 3476245"/>
              <a:gd name="connsiteX26" fmla="*/ 2102125 w 2848250"/>
              <a:gd name="connsiteY26" fmla="*/ 2973959 h 3476245"/>
              <a:gd name="connsiteX27" fmla="*/ 1641115 w 2848250"/>
              <a:gd name="connsiteY27" fmla="*/ 3332353 h 3476245"/>
              <a:gd name="connsiteX28" fmla="*/ 1040913 w 2848250"/>
              <a:gd name="connsiteY28" fmla="*/ 3476244 h 3476245"/>
              <a:gd name="connsiteX29" fmla="*/ 931693 w 2848250"/>
              <a:gd name="connsiteY29" fmla="*/ 1592326 h 3476245"/>
              <a:gd name="connsiteX30" fmla="*/ 506624 w 2848250"/>
              <a:gd name="connsiteY30" fmla="*/ 1845437 h 3476245"/>
              <a:gd name="connsiteX31" fmla="*/ 269642 w 2848250"/>
              <a:gd name="connsiteY31" fmla="*/ 2354707 h 3476245"/>
              <a:gd name="connsiteX32" fmla="*/ 463444 w 2848250"/>
              <a:gd name="connsiteY32" fmla="*/ 2934335 h 3476245"/>
              <a:gd name="connsiteX33" fmla="*/ 1001416 w 2848250"/>
              <a:gd name="connsiteY33" fmla="*/ 3208655 h 3476245"/>
              <a:gd name="connsiteX34" fmla="*/ 1521354 w 2848250"/>
              <a:gd name="connsiteY34" fmla="*/ 3094355 h 3476245"/>
              <a:gd name="connsiteX35" fmla="*/ 1932199 w 2848250"/>
              <a:gd name="connsiteY35" fmla="*/ 2765044 h 3476245"/>
              <a:gd name="connsiteX36" fmla="*/ 1884066 w 2848250"/>
              <a:gd name="connsiteY36" fmla="*/ 2705862 h 3476245"/>
              <a:gd name="connsiteX37" fmla="*/ 1886225 w 2848250"/>
              <a:gd name="connsiteY37" fmla="*/ 2704084 h 3476245"/>
              <a:gd name="connsiteX38" fmla="*/ 1000400 w 2848250"/>
              <a:gd name="connsiteY38" fmla="*/ 1567434 h 3476245"/>
              <a:gd name="connsiteX39" fmla="*/ 2592726 w 2848250"/>
              <a:gd name="connsiteY39" fmla="*/ 3107944 h 3476245"/>
              <a:gd name="connsiteX40" fmla="*/ 2592726 w 2848250"/>
              <a:gd name="connsiteY40" fmla="*/ 3107944 h 3476245"/>
              <a:gd name="connsiteX41" fmla="*/ 1264814 w 2848250"/>
              <a:gd name="connsiteY41" fmla="*/ 267081 h 3476245"/>
              <a:gd name="connsiteX42" fmla="*/ 928010 w 2848250"/>
              <a:gd name="connsiteY42" fmla="*/ 399161 h 3476245"/>
              <a:gd name="connsiteX43" fmla="*/ 795295 w 2848250"/>
              <a:gd name="connsiteY43" fmla="*/ 748665 h 3476245"/>
              <a:gd name="connsiteX44" fmla="*/ 1012592 w 2848250"/>
              <a:gd name="connsiteY44" fmla="*/ 1146683 h 3476245"/>
              <a:gd name="connsiteX45" fmla="*/ 1014116 w 2848250"/>
              <a:gd name="connsiteY45" fmla="*/ 1148715 h 3476245"/>
              <a:gd name="connsiteX46" fmla="*/ 1088030 w 2848250"/>
              <a:gd name="connsiteY46" fmla="*/ 1243330 h 3476245"/>
              <a:gd name="connsiteX47" fmla="*/ 1088030 w 2848250"/>
              <a:gd name="connsiteY47" fmla="*/ 1243330 h 3476245"/>
              <a:gd name="connsiteX48" fmla="*/ 1088030 w 2848250"/>
              <a:gd name="connsiteY48" fmla="*/ 1243330 h 3476245"/>
              <a:gd name="connsiteX49" fmla="*/ 1088030 w 2848250"/>
              <a:gd name="connsiteY49" fmla="*/ 1243330 h 3476245"/>
              <a:gd name="connsiteX50" fmla="*/ 1491382 w 2848250"/>
              <a:gd name="connsiteY50" fmla="*/ 1002792 h 3476245"/>
              <a:gd name="connsiteX51" fmla="*/ 1688867 w 2848250"/>
              <a:gd name="connsiteY51" fmla="*/ 648081 h 3476245"/>
              <a:gd name="connsiteX52" fmla="*/ 1310661 w 2848250"/>
              <a:gd name="connsiteY52" fmla="*/ 268732 h 3476245"/>
              <a:gd name="connsiteX53" fmla="*/ 1264814 w 2848250"/>
              <a:gd name="connsiteY53" fmla="*/ 267081 h 34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848250" h="3476245">
                <a:moveTo>
                  <a:pt x="1040913" y="3476244"/>
                </a:moveTo>
                <a:cubicBezTo>
                  <a:pt x="1024911" y="3476244"/>
                  <a:pt x="1008528" y="3476244"/>
                  <a:pt x="992526" y="3475355"/>
                </a:cubicBezTo>
                <a:cubicBezTo>
                  <a:pt x="727604" y="3466592"/>
                  <a:pt x="462174" y="3334131"/>
                  <a:pt x="264308" y="3112008"/>
                </a:cubicBezTo>
                <a:cubicBezTo>
                  <a:pt x="73564" y="2899588"/>
                  <a:pt x="-20728" y="2617678"/>
                  <a:pt x="3831" y="2333244"/>
                </a:cubicBezTo>
                <a:cubicBezTo>
                  <a:pt x="24532" y="2056130"/>
                  <a:pt x="129434" y="1832356"/>
                  <a:pt x="324506" y="1649984"/>
                </a:cubicBezTo>
                <a:cubicBezTo>
                  <a:pt x="493797" y="1491615"/>
                  <a:pt x="692806" y="1400302"/>
                  <a:pt x="830093" y="1345184"/>
                </a:cubicBezTo>
                <a:lnTo>
                  <a:pt x="805963" y="1314704"/>
                </a:lnTo>
                <a:lnTo>
                  <a:pt x="804312" y="1312672"/>
                </a:lnTo>
                <a:cubicBezTo>
                  <a:pt x="678836" y="1154684"/>
                  <a:pt x="549423" y="991870"/>
                  <a:pt x="529865" y="771906"/>
                </a:cubicBezTo>
                <a:cubicBezTo>
                  <a:pt x="512339" y="574421"/>
                  <a:pt x="592349" y="359664"/>
                  <a:pt x="738653" y="211201"/>
                </a:cubicBezTo>
                <a:cubicBezTo>
                  <a:pt x="875940" y="73025"/>
                  <a:pt x="1057804" y="0"/>
                  <a:pt x="1265068" y="0"/>
                </a:cubicBezTo>
                <a:cubicBezTo>
                  <a:pt x="1288563" y="0"/>
                  <a:pt x="1310534" y="889"/>
                  <a:pt x="1332251" y="2667"/>
                </a:cubicBezTo>
                <a:cubicBezTo>
                  <a:pt x="1697376" y="29337"/>
                  <a:pt x="1954551" y="294132"/>
                  <a:pt x="1956583" y="646430"/>
                </a:cubicBezTo>
                <a:cubicBezTo>
                  <a:pt x="1957726" y="852551"/>
                  <a:pt x="1859682" y="1040765"/>
                  <a:pt x="1664483" y="1206119"/>
                </a:cubicBezTo>
                <a:cubicBezTo>
                  <a:pt x="1558819" y="1295654"/>
                  <a:pt x="1424326" y="1379093"/>
                  <a:pt x="1254527" y="1460119"/>
                </a:cubicBezTo>
                <a:lnTo>
                  <a:pt x="2175404" y="2642108"/>
                </a:lnTo>
                <a:lnTo>
                  <a:pt x="2295165" y="2789174"/>
                </a:lnTo>
                <a:cubicBezTo>
                  <a:pt x="2437151" y="2951861"/>
                  <a:pt x="2567961" y="3087370"/>
                  <a:pt x="2593488" y="3108833"/>
                </a:cubicBezTo>
                <a:cubicBezTo>
                  <a:pt x="2605299" y="3117469"/>
                  <a:pt x="2614570" y="3125470"/>
                  <a:pt x="2621429" y="3131439"/>
                </a:cubicBezTo>
                <a:lnTo>
                  <a:pt x="2627270" y="3136392"/>
                </a:lnTo>
                <a:cubicBezTo>
                  <a:pt x="2656210" y="3141259"/>
                  <a:pt x="2685580" y="3143089"/>
                  <a:pt x="2714900" y="3141853"/>
                </a:cubicBezTo>
                <a:lnTo>
                  <a:pt x="2848250" y="3141853"/>
                </a:lnTo>
                <a:lnTo>
                  <a:pt x="2848250" y="3408553"/>
                </a:lnTo>
                <a:lnTo>
                  <a:pt x="2714900" y="3408553"/>
                </a:lnTo>
                <a:cubicBezTo>
                  <a:pt x="2560214" y="3408553"/>
                  <a:pt x="2507636" y="3385820"/>
                  <a:pt x="2446930" y="3333623"/>
                </a:cubicBezTo>
                <a:cubicBezTo>
                  <a:pt x="2441977" y="3329305"/>
                  <a:pt x="2437913" y="3325876"/>
                  <a:pt x="2434230" y="3322955"/>
                </a:cubicBezTo>
                <a:cubicBezTo>
                  <a:pt x="2383430" y="3285744"/>
                  <a:pt x="2210075" y="3097149"/>
                  <a:pt x="2102125" y="2973959"/>
                </a:cubicBezTo>
                <a:cubicBezTo>
                  <a:pt x="1959504" y="3129026"/>
                  <a:pt x="1804564" y="3249422"/>
                  <a:pt x="1641115" y="3332353"/>
                </a:cubicBezTo>
                <a:cubicBezTo>
                  <a:pt x="1455274" y="3427192"/>
                  <a:pt x="1249555" y="3476510"/>
                  <a:pt x="1040913" y="3476244"/>
                </a:cubicBezTo>
                <a:close/>
                <a:moveTo>
                  <a:pt x="931693" y="1592326"/>
                </a:moveTo>
                <a:cubicBezTo>
                  <a:pt x="814726" y="1639443"/>
                  <a:pt x="644292" y="1716659"/>
                  <a:pt x="506624" y="1845437"/>
                </a:cubicBezTo>
                <a:cubicBezTo>
                  <a:pt x="360828" y="1981835"/>
                  <a:pt x="285517" y="2143633"/>
                  <a:pt x="269642" y="2354707"/>
                </a:cubicBezTo>
                <a:cubicBezTo>
                  <a:pt x="251454" y="2566386"/>
                  <a:pt x="321595" y="2776166"/>
                  <a:pt x="463444" y="2934335"/>
                </a:cubicBezTo>
                <a:cubicBezTo>
                  <a:pt x="610764" y="3099435"/>
                  <a:pt x="811932" y="3202305"/>
                  <a:pt x="1001416" y="3208655"/>
                </a:cubicBezTo>
                <a:cubicBezTo>
                  <a:pt x="1181635" y="3215452"/>
                  <a:pt x="1360603" y="3176109"/>
                  <a:pt x="1521354" y="3094355"/>
                </a:cubicBezTo>
                <a:cubicBezTo>
                  <a:pt x="1665753" y="3021076"/>
                  <a:pt x="1804056" y="2910332"/>
                  <a:pt x="1932199" y="2765044"/>
                </a:cubicBezTo>
                <a:lnTo>
                  <a:pt x="1884066" y="2705862"/>
                </a:lnTo>
                <a:lnTo>
                  <a:pt x="1886225" y="2704084"/>
                </a:lnTo>
                <a:lnTo>
                  <a:pt x="1000400" y="1567434"/>
                </a:lnTo>
                <a:close/>
                <a:moveTo>
                  <a:pt x="2592726" y="3107944"/>
                </a:moveTo>
                <a:lnTo>
                  <a:pt x="2592726" y="3107944"/>
                </a:lnTo>
                <a:close/>
                <a:moveTo>
                  <a:pt x="1264814" y="267081"/>
                </a:moveTo>
                <a:cubicBezTo>
                  <a:pt x="1130321" y="267081"/>
                  <a:pt x="1013735" y="312801"/>
                  <a:pt x="928010" y="399161"/>
                </a:cubicBezTo>
                <a:cubicBezTo>
                  <a:pt x="836824" y="491617"/>
                  <a:pt x="784627" y="628904"/>
                  <a:pt x="795295" y="748665"/>
                </a:cubicBezTo>
                <a:cubicBezTo>
                  <a:pt x="807995" y="888365"/>
                  <a:pt x="902610" y="1008380"/>
                  <a:pt x="1012592" y="1146683"/>
                </a:cubicBezTo>
                <a:lnTo>
                  <a:pt x="1014116" y="1148715"/>
                </a:lnTo>
                <a:cubicBezTo>
                  <a:pt x="1040786" y="1182243"/>
                  <a:pt x="1064916" y="1212215"/>
                  <a:pt x="1088030" y="1243330"/>
                </a:cubicBezTo>
                <a:lnTo>
                  <a:pt x="1088030" y="1243330"/>
                </a:lnTo>
                <a:lnTo>
                  <a:pt x="1088030" y="1243330"/>
                </a:lnTo>
                <a:lnTo>
                  <a:pt x="1088030" y="1243330"/>
                </a:lnTo>
                <a:cubicBezTo>
                  <a:pt x="1261639" y="1164590"/>
                  <a:pt x="1393592" y="1085850"/>
                  <a:pt x="1491382" y="1002792"/>
                </a:cubicBezTo>
                <a:cubicBezTo>
                  <a:pt x="1623081" y="891032"/>
                  <a:pt x="1689502" y="771652"/>
                  <a:pt x="1688867" y="648081"/>
                </a:cubicBezTo>
                <a:cubicBezTo>
                  <a:pt x="1687597" y="434340"/>
                  <a:pt x="1539134" y="285369"/>
                  <a:pt x="1310661" y="268732"/>
                </a:cubicBezTo>
                <a:cubicBezTo>
                  <a:pt x="1296056" y="267716"/>
                  <a:pt x="1281197" y="267081"/>
                  <a:pt x="1264814" y="267081"/>
                </a:cubicBezTo>
                <a:close/>
              </a:path>
            </a:pathLst>
          </a:custGeom>
          <a:solidFill>
            <a:srgbClr val="FFFFFF"/>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55A575-2D29-4CA2-B8AD-621A7489E9F3}"/>
              </a:ext>
            </a:extLst>
          </p:cNvPr>
          <p:cNvSpPr/>
          <p:nvPr/>
        </p:nvSpPr>
        <p:spPr>
          <a:xfrm>
            <a:off x="2195899" y="4546596"/>
            <a:ext cx="5688673" cy="1147495"/>
          </a:xfrm>
          <a:custGeom>
            <a:avLst/>
            <a:gdLst>
              <a:gd name="connsiteX0" fmla="*/ 133376 w 6260109"/>
              <a:gd name="connsiteY0" fmla="*/ 1262761 h 1262763"/>
              <a:gd name="connsiteX1" fmla="*/ 0 w 6260109"/>
              <a:gd name="connsiteY1" fmla="*/ 1129437 h 1262763"/>
              <a:gd name="connsiteX2" fmla="*/ 35458 w 6260109"/>
              <a:gd name="connsiteY2" fmla="*/ 1038860 h 1262763"/>
              <a:gd name="connsiteX3" fmla="*/ 55017 w 6260109"/>
              <a:gd name="connsiteY3" fmla="*/ 1016635 h 1262763"/>
              <a:gd name="connsiteX4" fmla="*/ 126137 w 6260109"/>
              <a:gd name="connsiteY4" fmla="*/ 927735 h 1262763"/>
              <a:gd name="connsiteX5" fmla="*/ 154458 w 6260109"/>
              <a:gd name="connsiteY5" fmla="*/ 890397 h 1262763"/>
              <a:gd name="connsiteX6" fmla="*/ 178715 w 6260109"/>
              <a:gd name="connsiteY6" fmla="*/ 849376 h 1262763"/>
              <a:gd name="connsiteX7" fmla="*/ 216815 w 6260109"/>
              <a:gd name="connsiteY7" fmla="*/ 772033 h 1262763"/>
              <a:gd name="connsiteX8" fmla="*/ 243739 w 6260109"/>
              <a:gd name="connsiteY8" fmla="*/ 708533 h 1262763"/>
              <a:gd name="connsiteX9" fmla="*/ 262662 w 6260109"/>
              <a:gd name="connsiteY9" fmla="*/ 648716 h 1262763"/>
              <a:gd name="connsiteX10" fmla="*/ 277013 w 6260109"/>
              <a:gd name="connsiteY10" fmla="*/ 581406 h 1262763"/>
              <a:gd name="connsiteX11" fmla="*/ 288570 w 6260109"/>
              <a:gd name="connsiteY11" fmla="*/ 496697 h 1262763"/>
              <a:gd name="connsiteX12" fmla="*/ 298349 w 6260109"/>
              <a:gd name="connsiteY12" fmla="*/ 387477 h 1262763"/>
              <a:gd name="connsiteX13" fmla="*/ 299111 w 6260109"/>
              <a:gd name="connsiteY13" fmla="*/ 377317 h 1262763"/>
              <a:gd name="connsiteX14" fmla="*/ 307620 w 6260109"/>
              <a:gd name="connsiteY14" fmla="*/ 249174 h 1262763"/>
              <a:gd name="connsiteX15" fmla="*/ 313589 w 6260109"/>
              <a:gd name="connsiteY15" fmla="*/ 127000 h 1262763"/>
              <a:gd name="connsiteX16" fmla="*/ 446812 w 6260109"/>
              <a:gd name="connsiteY16" fmla="*/ 0 h 1262763"/>
              <a:gd name="connsiteX17" fmla="*/ 6126760 w 6260109"/>
              <a:gd name="connsiteY17" fmla="*/ 0 h 1262763"/>
              <a:gd name="connsiteX18" fmla="*/ 6260110 w 6260109"/>
              <a:gd name="connsiteY18" fmla="*/ 133350 h 1262763"/>
              <a:gd name="connsiteX19" fmla="*/ 6126760 w 6260109"/>
              <a:gd name="connsiteY19" fmla="*/ 266700 h 1262763"/>
              <a:gd name="connsiteX20" fmla="*/ 573939 w 6260109"/>
              <a:gd name="connsiteY20" fmla="*/ 266700 h 1262763"/>
              <a:gd name="connsiteX21" fmla="*/ 565176 w 6260109"/>
              <a:gd name="connsiteY21" fmla="*/ 397383 h 1262763"/>
              <a:gd name="connsiteX22" fmla="*/ 564414 w 6260109"/>
              <a:gd name="connsiteY22" fmla="*/ 407416 h 1262763"/>
              <a:gd name="connsiteX23" fmla="*/ 553873 w 6260109"/>
              <a:gd name="connsiteY23" fmla="*/ 525526 h 1262763"/>
              <a:gd name="connsiteX24" fmla="*/ 540030 w 6260109"/>
              <a:gd name="connsiteY24" fmla="*/ 626237 h 1262763"/>
              <a:gd name="connsiteX25" fmla="*/ 520599 w 6260109"/>
              <a:gd name="connsiteY25" fmla="*/ 716788 h 1262763"/>
              <a:gd name="connsiteX26" fmla="*/ 493929 w 6260109"/>
              <a:gd name="connsiteY26" fmla="*/ 800989 h 1262763"/>
              <a:gd name="connsiteX27" fmla="*/ 459131 w 6260109"/>
              <a:gd name="connsiteY27" fmla="*/ 884301 h 1262763"/>
              <a:gd name="connsiteX28" fmla="*/ 415697 w 6260109"/>
              <a:gd name="connsiteY28" fmla="*/ 972058 h 1262763"/>
              <a:gd name="connsiteX29" fmla="*/ 368198 w 6260109"/>
              <a:gd name="connsiteY29" fmla="*/ 1050290 h 1262763"/>
              <a:gd name="connsiteX30" fmla="*/ 337846 w 6260109"/>
              <a:gd name="connsiteY30" fmla="*/ 1090295 h 1262763"/>
              <a:gd name="connsiteX31" fmla="*/ 258217 w 6260109"/>
              <a:gd name="connsiteY31" fmla="*/ 1190117 h 1262763"/>
              <a:gd name="connsiteX32" fmla="*/ 231166 w 6260109"/>
              <a:gd name="connsiteY32" fmla="*/ 1220724 h 1262763"/>
              <a:gd name="connsiteX33" fmla="*/ 133376 w 6260109"/>
              <a:gd name="connsiteY33" fmla="*/ 1262761 h 12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60109" h="1262763">
                <a:moveTo>
                  <a:pt x="133376" y="1262761"/>
                </a:moveTo>
                <a:cubicBezTo>
                  <a:pt x="59728" y="1262775"/>
                  <a:pt x="14" y="1203084"/>
                  <a:pt x="0" y="1129437"/>
                </a:cubicBezTo>
                <a:cubicBezTo>
                  <a:pt x="-6" y="1095857"/>
                  <a:pt x="12656" y="1063511"/>
                  <a:pt x="35458" y="1038860"/>
                </a:cubicBezTo>
                <a:cubicBezTo>
                  <a:pt x="42190" y="1031621"/>
                  <a:pt x="48159" y="1024128"/>
                  <a:pt x="55017" y="1016635"/>
                </a:cubicBezTo>
                <a:cubicBezTo>
                  <a:pt x="80417" y="987298"/>
                  <a:pt x="103912" y="956310"/>
                  <a:pt x="126137" y="927735"/>
                </a:cubicBezTo>
                <a:cubicBezTo>
                  <a:pt x="135662" y="915035"/>
                  <a:pt x="145187" y="902335"/>
                  <a:pt x="154458" y="890397"/>
                </a:cubicBezTo>
                <a:cubicBezTo>
                  <a:pt x="163675" y="877426"/>
                  <a:pt x="171790" y="863704"/>
                  <a:pt x="178715" y="849376"/>
                </a:cubicBezTo>
                <a:cubicBezTo>
                  <a:pt x="194336" y="819150"/>
                  <a:pt x="206528" y="794639"/>
                  <a:pt x="216815" y="772033"/>
                </a:cubicBezTo>
                <a:cubicBezTo>
                  <a:pt x="227102" y="749427"/>
                  <a:pt x="236246" y="727964"/>
                  <a:pt x="243739" y="708533"/>
                </a:cubicBezTo>
                <a:cubicBezTo>
                  <a:pt x="251232" y="689102"/>
                  <a:pt x="257455" y="668274"/>
                  <a:pt x="262662" y="648716"/>
                </a:cubicBezTo>
                <a:cubicBezTo>
                  <a:pt x="267869" y="629158"/>
                  <a:pt x="272822" y="606171"/>
                  <a:pt x="277013" y="581406"/>
                </a:cubicBezTo>
                <a:cubicBezTo>
                  <a:pt x="281204" y="556641"/>
                  <a:pt x="284887" y="529717"/>
                  <a:pt x="288570" y="496697"/>
                </a:cubicBezTo>
                <a:cubicBezTo>
                  <a:pt x="292253" y="463677"/>
                  <a:pt x="295301" y="428879"/>
                  <a:pt x="298349" y="387477"/>
                </a:cubicBezTo>
                <a:lnTo>
                  <a:pt x="299111" y="377317"/>
                </a:lnTo>
                <a:cubicBezTo>
                  <a:pt x="302540" y="332994"/>
                  <a:pt x="305715" y="291211"/>
                  <a:pt x="307620" y="249174"/>
                </a:cubicBezTo>
                <a:lnTo>
                  <a:pt x="313589" y="127000"/>
                </a:lnTo>
                <a:cubicBezTo>
                  <a:pt x="316915" y="55864"/>
                  <a:pt x="375598" y="-78"/>
                  <a:pt x="446812" y="0"/>
                </a:cubicBezTo>
                <a:lnTo>
                  <a:pt x="6126760" y="0"/>
                </a:lnTo>
                <a:cubicBezTo>
                  <a:pt x="6200407" y="0"/>
                  <a:pt x="6260110" y="59703"/>
                  <a:pt x="6260110" y="133350"/>
                </a:cubicBezTo>
                <a:cubicBezTo>
                  <a:pt x="6260110" y="206997"/>
                  <a:pt x="6200407" y="266700"/>
                  <a:pt x="6126760" y="266700"/>
                </a:cubicBezTo>
                <a:lnTo>
                  <a:pt x="573939" y="266700"/>
                </a:lnTo>
                <a:cubicBezTo>
                  <a:pt x="571780" y="310769"/>
                  <a:pt x="568478" y="354711"/>
                  <a:pt x="565176" y="397383"/>
                </a:cubicBezTo>
                <a:lnTo>
                  <a:pt x="564414" y="407416"/>
                </a:lnTo>
                <a:cubicBezTo>
                  <a:pt x="561112" y="451612"/>
                  <a:pt x="557683" y="490220"/>
                  <a:pt x="553873" y="525526"/>
                </a:cubicBezTo>
                <a:cubicBezTo>
                  <a:pt x="549555" y="564261"/>
                  <a:pt x="545237" y="596138"/>
                  <a:pt x="540030" y="626237"/>
                </a:cubicBezTo>
                <a:cubicBezTo>
                  <a:pt x="534442" y="659257"/>
                  <a:pt x="528092" y="688721"/>
                  <a:pt x="520599" y="716788"/>
                </a:cubicBezTo>
                <a:cubicBezTo>
                  <a:pt x="513106" y="744855"/>
                  <a:pt x="504470" y="772541"/>
                  <a:pt x="493929" y="800989"/>
                </a:cubicBezTo>
                <a:cubicBezTo>
                  <a:pt x="483388" y="829437"/>
                  <a:pt x="472593" y="854837"/>
                  <a:pt x="459131" y="884301"/>
                </a:cubicBezTo>
                <a:cubicBezTo>
                  <a:pt x="446431" y="910717"/>
                  <a:pt x="433096" y="938530"/>
                  <a:pt x="415697" y="972058"/>
                </a:cubicBezTo>
                <a:cubicBezTo>
                  <a:pt x="402138" y="999450"/>
                  <a:pt x="386246" y="1025624"/>
                  <a:pt x="368198" y="1050290"/>
                </a:cubicBezTo>
                <a:cubicBezTo>
                  <a:pt x="358420" y="1062990"/>
                  <a:pt x="348260" y="1076833"/>
                  <a:pt x="337846" y="1090295"/>
                </a:cubicBezTo>
                <a:cubicBezTo>
                  <a:pt x="313589" y="1122045"/>
                  <a:pt x="287046" y="1156081"/>
                  <a:pt x="258217" y="1190117"/>
                </a:cubicBezTo>
                <a:cubicBezTo>
                  <a:pt x="249327" y="1200658"/>
                  <a:pt x="240310" y="1210818"/>
                  <a:pt x="231166" y="1220724"/>
                </a:cubicBezTo>
                <a:cubicBezTo>
                  <a:pt x="205862" y="1247767"/>
                  <a:pt x="170410" y="1263007"/>
                  <a:pt x="133376" y="1262761"/>
                </a:cubicBezTo>
                <a:close/>
              </a:path>
            </a:pathLst>
          </a:custGeom>
          <a:solidFill>
            <a:srgbClr val="FFFFFF"/>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DE123E-D31C-47E2-B6A2-E845018881F6}"/>
              </a:ext>
            </a:extLst>
          </p:cNvPr>
          <p:cNvSpPr/>
          <p:nvPr userDrawn="1"/>
        </p:nvSpPr>
        <p:spPr>
          <a:xfrm>
            <a:off x="0" y="6632027"/>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7DD3772-4C5E-4589-849B-676727EF93D3}"/>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4D6F7B-84CF-4FD4-8E0D-D783C92E5AA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6098140E-9523-4D50-A767-DFEABC069AA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EB210967-FC0C-484A-B475-EE3D190F0D4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0801025-63AB-49AD-B7C3-D54BC5762BF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A387142-1CBE-479E-A4CD-E1AE75FC57D3}"/>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91A3FA16-8969-49BA-B400-AFCF765C7CE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64AE879F-0775-43FE-BD16-BAE89045536C}"/>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1EB5652B-F1E2-42E9-8A1A-CD2E973C3920}"/>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B1B1D95B-8EC7-4608-A0AB-AD3EE133148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7DA7A5E-2079-43DB-BC49-9D77FBA5F938}"/>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292537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0455E612-50B1-4F98-B135-B53AABD3FE47}"/>
              </a:ext>
            </a:extLst>
          </p:cNvPr>
          <p:cNvSpPr>
            <a:spLocks noGrp="1" noChangeAspect="1"/>
          </p:cNvSpPr>
          <p:nvPr>
            <p:ph type="body" sz="quarter" idx="12" hasCustomPrompt="1"/>
          </p:nvPr>
        </p:nvSpPr>
        <p:spPr>
          <a:xfrm>
            <a:off x="719137" y="719139"/>
            <a:ext cx="1821600" cy="32176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6352425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bg1"/>
          </a:solidFill>
        </p:spPr>
        <p:txBody>
          <a:bodyPr wrap="none" tIns="36000" rIns="72000" bIns="36000" anchor="ctr" anchorCtr="0">
            <a:spAutoFit/>
          </a:bodyPr>
          <a:lstStyle>
            <a:lvl1pPr marL="0">
              <a:defRPr sz="1600" i="1">
                <a:solidFill>
                  <a:schemeClr val="tx2"/>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dirty="0"/>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bg1"/>
                </a:solidFill>
                <a:latin typeface="+mn-lt"/>
              </a:defRPr>
            </a:lvl1pPr>
            <a:lvl2pPr marL="0" indent="0" algn="l">
              <a:lnSpc>
                <a:spcPct val="100000"/>
              </a:lnSpc>
              <a:spcBef>
                <a:spcPts val="600"/>
              </a:spcBef>
              <a:buNone/>
              <a:defRPr sz="1800">
                <a:solidFill>
                  <a:schemeClr val="bg1"/>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US"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solidFill>
                  <a:schemeClr val="bg1"/>
                </a:solidFill>
              </a:defRPr>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5885A642-AA04-4403-8AB3-F62F31CB2D44}"/>
              </a:ext>
            </a:extLst>
          </p:cNvPr>
          <p:cNvSpPr>
            <a:spLocks noGrp="1"/>
          </p:cNvSpPr>
          <p:nvPr>
            <p:ph type="body" sz="quarter" idx="12" hasCustomPrompt="1"/>
          </p:nvPr>
        </p:nvSpPr>
        <p:spPr>
          <a:xfrm>
            <a:off x="719137" y="719139"/>
            <a:ext cx="1821600" cy="32040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950007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Messag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C90AD-ACAB-4330-BD3E-4036A2058A52}"/>
              </a:ext>
            </a:extLst>
          </p:cNvPr>
          <p:cNvSpPr>
            <a:spLocks noGrp="1"/>
          </p:cNvSpPr>
          <p:nvPr>
            <p:ph type="title"/>
          </p:nvPr>
        </p:nvSpPr>
        <p:spPr>
          <a:xfrm>
            <a:off x="719137" y="1260000"/>
            <a:ext cx="10752138" cy="4877275"/>
          </a:xfrm>
        </p:spPr>
        <p:txBody>
          <a:bodyPr/>
          <a:lstStyle>
            <a:lvl1pPr>
              <a:defRPr sz="7200"/>
            </a:lvl1pPr>
            <a:lvl2pPr>
              <a:defRPr sz="7200"/>
            </a:lvl2pPr>
            <a:lvl3pPr>
              <a:defRPr sz="13800"/>
            </a:lvl3pPr>
            <a:lvl4pPr>
              <a:defRPr sz="13800"/>
            </a:lvl4pPr>
            <a:lvl5pPr>
              <a:defRPr sz="9600"/>
            </a:lvl5pPr>
            <a:lvl6pPr>
              <a:defRPr sz="9600"/>
            </a:lvl6pPr>
            <a:lvl7pPr>
              <a:defRPr sz="11500"/>
            </a:lvl7pPr>
            <a:lvl8pPr>
              <a:defRPr sz="11500"/>
            </a:lvl8pPr>
            <a:lvl9pPr>
              <a:defRPr sz="9600"/>
            </a:lvl9pPr>
          </a:lstStyle>
          <a:p>
            <a:pPr lvl="0"/>
            <a:r>
              <a:rPr lang="en-US"/>
              <a:t>Click to edit Master title style</a:t>
            </a:r>
            <a:endParaRPr lang="en-GB" dirty="0"/>
          </a:p>
        </p:txBody>
      </p:sp>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spTree>
    <p:extLst>
      <p:ext uri="{BB962C8B-B14F-4D97-AF65-F5344CB8AC3E}">
        <p14:creationId xmlns:p14="http://schemas.microsoft.com/office/powerpoint/2010/main" val="7792881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firm. Your firm.">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718571"/>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2561771"/>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Tree>
    <p:extLst>
      <p:ext uri="{BB962C8B-B14F-4D97-AF65-F5344CB8AC3E}">
        <p14:creationId xmlns:p14="http://schemas.microsoft.com/office/powerpoint/2010/main" val="322837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firm. Your firm. strapline">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2215726"/>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4058926"/>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
        <p:nvSpPr>
          <p:cNvPr id="23" name="TextBox 22">
            <a:extLst>
              <a:ext uri="{FF2B5EF4-FFF2-40B4-BE49-F238E27FC236}">
                <a16:creationId xmlns:a16="http://schemas.microsoft.com/office/drawing/2014/main" id="{B66A4CE8-02C5-492B-8875-F35E4A96973E}"/>
              </a:ext>
            </a:extLst>
          </p:cNvPr>
          <p:cNvSpPr txBox="1"/>
          <p:nvPr userDrawn="1"/>
        </p:nvSpPr>
        <p:spPr>
          <a:xfrm>
            <a:off x="719137" y="685241"/>
            <a:ext cx="9356847" cy="794765"/>
          </a:xfrm>
          <a:prstGeom prst="rect">
            <a:avLst/>
          </a:prstGeom>
          <a:noFill/>
        </p:spPr>
        <p:txBody>
          <a:bodyPr wrap="square">
            <a:spAutoFit/>
          </a:bodyPr>
          <a:lstStyle/>
          <a:p>
            <a:pPr>
              <a:spcBef>
                <a:spcPts val="1200"/>
              </a:spcBef>
            </a:pPr>
            <a:r>
              <a:rPr lang="en-GB" sz="2400" i="1" dirty="0">
                <a:latin typeface="+mj-lt"/>
              </a:rPr>
              <a:t>We'll work as one seamless international team across our business and yours. Giving you access to a whole world of expertise. </a:t>
            </a:r>
          </a:p>
        </p:txBody>
      </p:sp>
    </p:spTree>
    <p:extLst>
      <p:ext uri="{BB962C8B-B14F-4D97-AF65-F5344CB8AC3E}">
        <p14:creationId xmlns:p14="http://schemas.microsoft.com/office/powerpoint/2010/main" val="399239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500"/>
                                        <p:tgtEl>
                                          <p:spTgt spid="23"/>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25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799990"/>
            <a:ext cx="6005888" cy="3976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16" name="Text Placeholder 1">
            <a:extLst>
              <a:ext uri="{FF2B5EF4-FFF2-40B4-BE49-F238E27FC236}">
                <a16:creationId xmlns:a16="http://schemas.microsoft.com/office/drawing/2014/main" id="{95D91B36-D041-4B27-916C-CC12250E85AE}"/>
              </a:ext>
            </a:extLst>
          </p:cNvPr>
          <p:cNvSpPr>
            <a:spLocks noGrp="1"/>
          </p:cNvSpPr>
          <p:nvPr>
            <p:ph type="body" sz="quarter" idx="12"/>
          </p:nvPr>
        </p:nvSpPr>
        <p:spPr>
          <a:xfrm>
            <a:off x="719139" y="2060197"/>
            <a:ext cx="4554536" cy="3455231"/>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4990686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3">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5" y="1799991"/>
            <a:ext cx="6005887" cy="371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21" name="Text Placeholder 1">
            <a:extLst>
              <a:ext uri="{FF2B5EF4-FFF2-40B4-BE49-F238E27FC236}">
                <a16:creationId xmlns:a16="http://schemas.microsoft.com/office/drawing/2014/main" id="{D0BCB2A8-A2F1-424B-ACCE-1CDDC0263C06}"/>
              </a:ext>
            </a:extLst>
          </p:cNvPr>
          <p:cNvSpPr>
            <a:spLocks noGrp="1"/>
          </p:cNvSpPr>
          <p:nvPr>
            <p:ph type="body" sz="quarter" idx="12"/>
          </p:nvPr>
        </p:nvSpPr>
        <p:spPr>
          <a:xfrm>
            <a:off x="719139" y="2060197"/>
            <a:ext cx="4554536" cy="3199959"/>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8396143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6"/>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03F501-5AF0-4B2D-B2B2-F826C468E6DA}"/>
              </a:ext>
            </a:extLst>
          </p:cNvPr>
          <p:cNvSpPr/>
          <p:nvPr/>
        </p:nvSpPr>
        <p:spPr>
          <a:xfrm>
            <a:off x="0" y="0"/>
            <a:ext cx="12191625" cy="6857146"/>
          </a:xfrm>
          <a:custGeom>
            <a:avLst/>
            <a:gdLst>
              <a:gd name="connsiteX0" fmla="*/ 0 w 1920180"/>
              <a:gd name="connsiteY0" fmla="*/ 0 h 1080000"/>
              <a:gd name="connsiteX1" fmla="*/ 1920180 w 1920180"/>
              <a:gd name="connsiteY1" fmla="*/ 0 h 1080000"/>
              <a:gd name="connsiteX2" fmla="*/ 1920180 w 1920180"/>
              <a:gd name="connsiteY2" fmla="*/ 1080000 h 1080000"/>
              <a:gd name="connsiteX3" fmla="*/ 0 w 1920180"/>
              <a:gd name="connsiteY3" fmla="*/ 1080000 h 1080000"/>
            </a:gdLst>
            <a:ahLst/>
            <a:cxnLst>
              <a:cxn ang="0">
                <a:pos x="connsiteX0" y="connsiteY0"/>
              </a:cxn>
              <a:cxn ang="0">
                <a:pos x="connsiteX1" y="connsiteY1"/>
              </a:cxn>
              <a:cxn ang="0">
                <a:pos x="connsiteX2" y="connsiteY2"/>
              </a:cxn>
              <a:cxn ang="0">
                <a:pos x="connsiteX3" y="connsiteY3"/>
              </a:cxn>
            </a:cxnLst>
            <a:rect l="l" t="t" r="r" b="b"/>
            <a:pathLst>
              <a:path w="1920180" h="1080000">
                <a:moveTo>
                  <a:pt x="0" y="0"/>
                </a:moveTo>
                <a:lnTo>
                  <a:pt x="1920180" y="0"/>
                </a:lnTo>
                <a:lnTo>
                  <a:pt x="1920180" y="1080000"/>
                </a:lnTo>
                <a:lnTo>
                  <a:pt x="0" y="1080000"/>
                </a:lnTo>
                <a:close/>
              </a:path>
            </a:pathLst>
          </a:custGeom>
          <a:noFill/>
          <a:ln w="1994" cap="flat">
            <a:noFill/>
            <a:prstDash val="solid"/>
            <a:miter/>
          </a:ln>
        </p:spPr>
        <p:txBody>
          <a:bodyPr rtlCol="0" anchor="ctr"/>
          <a:lstStyle/>
          <a:p>
            <a:endParaRPr lang="en-GB" dirty="0"/>
          </a:p>
        </p:txBody>
      </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24 October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Testing footer2</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GB" dirty="0"/>
              <a:t>Contents</a:t>
            </a:r>
          </a:p>
        </p:txBody>
      </p:sp>
      <p:grpSp>
        <p:nvGrpSpPr>
          <p:cNvPr id="15" name="Group 14">
            <a:extLst>
              <a:ext uri="{FF2B5EF4-FFF2-40B4-BE49-F238E27FC236}">
                <a16:creationId xmlns:a16="http://schemas.microsoft.com/office/drawing/2014/main" id="{59843ED0-6A19-4339-BF6B-1592DEE61674}"/>
              </a:ext>
            </a:extLst>
          </p:cNvPr>
          <p:cNvGrpSpPr/>
          <p:nvPr userDrawn="1"/>
        </p:nvGrpSpPr>
        <p:grpSpPr>
          <a:xfrm>
            <a:off x="3794125" y="2056860"/>
            <a:ext cx="8398510" cy="4801139"/>
            <a:chOff x="3794125" y="2056860"/>
            <a:chExt cx="8398510" cy="4801139"/>
          </a:xfrm>
        </p:grpSpPr>
        <p:sp>
          <p:nvSpPr>
            <p:cNvPr id="16" name="Freeform: Shape 15">
              <a:extLst>
                <a:ext uri="{FF2B5EF4-FFF2-40B4-BE49-F238E27FC236}">
                  <a16:creationId xmlns:a16="http://schemas.microsoft.com/office/drawing/2014/main" id="{DFEFA15E-E50A-4FB6-B766-516D84D7356B}"/>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EF742D8-191B-4073-81D4-16A1900062D6}"/>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8" name="Rectangle">
            <a:extLst>
              <a:ext uri="{FF2B5EF4-FFF2-40B4-BE49-F238E27FC236}">
                <a16:creationId xmlns:a16="http://schemas.microsoft.com/office/drawing/2014/main" id="{21C6EBF0-A7A4-413E-A7FD-E4F028820495}"/>
              </a:ext>
            </a:extLst>
          </p:cNvPr>
          <p:cNvSpPr/>
          <p:nvPr userDrawn="1"/>
        </p:nvSpPr>
        <p:spPr>
          <a:xfrm>
            <a:off x="-374" y="1584000"/>
            <a:ext cx="702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graphicFrame>
        <p:nvGraphicFramePr>
          <p:cNvPr id="17" name="TOCTable" hidden="1">
            <a:extLst>
              <a:ext uri="{FF2B5EF4-FFF2-40B4-BE49-F238E27FC236}">
                <a16:creationId xmlns:a16="http://schemas.microsoft.com/office/drawing/2014/main" id="{3433996D-9DBF-4897-BF4F-CD9B1AFE9DB8}"/>
              </a:ext>
            </a:extLst>
          </p:cNvPr>
          <p:cNvGraphicFramePr>
            <a:graphicFrameLocks/>
          </p:cNvGraphicFramePr>
          <p:nvPr userDrawn="1">
            <p:extLst>
              <p:ext uri="{D42A27DB-BD31-4B8C-83A1-F6EECF244321}">
                <p14:modId xmlns:p14="http://schemas.microsoft.com/office/powerpoint/2010/main" val="3892057374"/>
              </p:ext>
            </p:extLst>
          </p:nvPr>
        </p:nvGraphicFramePr>
        <p:xfrm>
          <a:off x="724372" y="1692275"/>
          <a:ext cx="6139008" cy="3775248"/>
        </p:xfrm>
        <a:graphic>
          <a:graphicData uri="http://schemas.openxmlformats.org/drawingml/2006/table">
            <a:tbl>
              <a:tblPr bandRow="1">
                <a:tableStyleId>{2D5ABB26-0587-4C30-8999-92F81FD0307C}</a:tableStyleId>
              </a:tblPr>
              <a:tblGrid>
                <a:gridCol w="706395">
                  <a:extLst>
                    <a:ext uri="{9D8B030D-6E8A-4147-A177-3AD203B41FA5}">
                      <a16:colId xmlns:a16="http://schemas.microsoft.com/office/drawing/2014/main" val="623472955"/>
                    </a:ext>
                  </a:extLst>
                </a:gridCol>
                <a:gridCol w="4892920">
                  <a:extLst>
                    <a:ext uri="{9D8B030D-6E8A-4147-A177-3AD203B41FA5}">
                      <a16:colId xmlns:a16="http://schemas.microsoft.com/office/drawing/2014/main" val="3016899469"/>
                    </a:ext>
                  </a:extLst>
                </a:gridCol>
                <a:gridCol w="539693">
                  <a:extLst>
                    <a:ext uri="{9D8B030D-6E8A-4147-A177-3AD203B41FA5}">
                      <a16:colId xmlns:a16="http://schemas.microsoft.com/office/drawing/2014/main" val="4199035927"/>
                    </a:ext>
                  </a:extLst>
                </a:gridCol>
              </a:tblGrid>
              <a:tr h="370840">
                <a:tc>
                  <a:txBody>
                    <a:bodyPr/>
                    <a:lstStyle/>
                    <a:p>
                      <a:pPr algn="l"/>
                      <a:r>
                        <a:rPr lang="en-GB" sz="2400" b="0" baseline="0" dirty="0">
                          <a:solidFill>
                            <a:schemeClr val="tx1"/>
                          </a:solidFill>
                          <a:latin typeface="+mj-lt"/>
                        </a:rPr>
                        <a:t>01</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rst item</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912683"/>
                  </a:ext>
                </a:extLst>
              </a:tr>
              <a:tr h="370840">
                <a:tc>
                  <a:txBody>
                    <a:bodyPr/>
                    <a:lstStyle/>
                    <a:p>
                      <a:pPr algn="l"/>
                      <a:r>
                        <a:rPr lang="en-GB" sz="2400" b="0" baseline="0" dirty="0">
                          <a:solidFill>
                            <a:schemeClr val="tx1"/>
                          </a:solidFill>
                          <a:latin typeface="+mj-lt"/>
                        </a:rPr>
                        <a:t>02</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con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655236"/>
                  </a:ext>
                </a:extLst>
              </a:tr>
              <a:tr h="370840">
                <a:tc>
                  <a:txBody>
                    <a:bodyPr/>
                    <a:lstStyle/>
                    <a:p>
                      <a:pPr algn="l"/>
                      <a:r>
                        <a:rPr lang="en-GB" sz="2400" b="0" baseline="0" dirty="0">
                          <a:solidFill>
                            <a:schemeClr val="tx1"/>
                          </a:solidFill>
                          <a:latin typeface="+mj-lt"/>
                          <a:cs typeface="Arial" panose="020B0604020202020204" pitchFamily="34" charset="0"/>
                        </a:rPr>
                        <a:t>03</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thir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243760"/>
                  </a:ext>
                </a:extLst>
              </a:tr>
              <a:tr h="370840">
                <a:tc>
                  <a:txBody>
                    <a:bodyPr/>
                    <a:lstStyle/>
                    <a:p>
                      <a:pPr algn="l"/>
                      <a:r>
                        <a:rPr lang="en-GB" sz="2400" b="0" baseline="0" dirty="0">
                          <a:solidFill>
                            <a:schemeClr val="tx1"/>
                          </a:solidFill>
                          <a:latin typeface="+mj-lt"/>
                          <a:cs typeface="Arial" panose="020B0604020202020204" pitchFamily="34" charset="0"/>
                        </a:rPr>
                        <a:t>04</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our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4242470"/>
                  </a:ext>
                </a:extLst>
              </a:tr>
              <a:tr h="370840">
                <a:tc>
                  <a:txBody>
                    <a:bodyPr/>
                    <a:lstStyle/>
                    <a:p>
                      <a:pPr algn="l"/>
                      <a:r>
                        <a:rPr lang="en-GB" sz="2400" b="0" baseline="0" dirty="0">
                          <a:solidFill>
                            <a:schemeClr val="tx1"/>
                          </a:solidFill>
                          <a:latin typeface="+mj-lt"/>
                          <a:cs typeface="Arial" panose="020B0604020202020204" pitchFamily="34" charset="0"/>
                        </a:rPr>
                        <a:t>05</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f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255728"/>
                  </a:ext>
                </a:extLst>
              </a:tr>
              <a:tr h="370840">
                <a:tc>
                  <a:txBody>
                    <a:bodyPr/>
                    <a:lstStyle/>
                    <a:p>
                      <a:pPr algn="l"/>
                      <a:r>
                        <a:rPr lang="en-GB" sz="2400" b="0" baseline="0" dirty="0">
                          <a:solidFill>
                            <a:schemeClr val="tx1"/>
                          </a:solidFill>
                          <a:latin typeface="+mj-lt"/>
                          <a:cs typeface="Arial" panose="020B0604020202020204" pitchFamily="34" charset="0"/>
                        </a:rPr>
                        <a:t>06</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ix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0849912"/>
                  </a:ext>
                </a:extLst>
              </a:tr>
              <a:tr h="370840">
                <a:tc>
                  <a:txBody>
                    <a:bodyPr/>
                    <a:lstStyle/>
                    <a:p>
                      <a:pPr algn="l"/>
                      <a:r>
                        <a:rPr lang="en-GB" sz="2400" b="0" baseline="0" dirty="0">
                          <a:solidFill>
                            <a:schemeClr val="tx1"/>
                          </a:solidFill>
                          <a:latin typeface="+mj-lt"/>
                          <a:cs typeface="Arial" panose="020B0604020202020204" pitchFamily="34" charset="0"/>
                        </a:rPr>
                        <a:t>07</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ve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721349"/>
                  </a:ext>
                </a:extLst>
              </a:tr>
              <a:tr h="370840">
                <a:tc>
                  <a:txBody>
                    <a:bodyPr/>
                    <a:lstStyle/>
                    <a:p>
                      <a:pPr algn="l"/>
                      <a:r>
                        <a:rPr lang="en-GB" sz="2400" b="0" baseline="0" dirty="0">
                          <a:solidFill>
                            <a:schemeClr val="tx1"/>
                          </a:solidFill>
                          <a:latin typeface="+mj-lt"/>
                          <a:cs typeface="Arial" panose="020B0604020202020204" pitchFamily="34" charset="0"/>
                        </a:rPr>
                        <a:t>08</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eigh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232822"/>
                  </a:ext>
                </a:extLst>
              </a:tr>
              <a:tr h="370840">
                <a:tc>
                  <a:txBody>
                    <a:bodyPr/>
                    <a:lstStyle/>
                    <a:p>
                      <a:pPr algn="l"/>
                      <a:r>
                        <a:rPr lang="en-GB" sz="2400" b="0" baseline="0" dirty="0">
                          <a:solidFill>
                            <a:schemeClr val="tx1"/>
                          </a:solidFill>
                          <a:latin typeface="+mj-lt"/>
                          <a:cs typeface="Arial" panose="020B0604020202020204" pitchFamily="34" charset="0"/>
                        </a:rPr>
                        <a:t>09</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ni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438890"/>
                  </a:ext>
                </a:extLst>
              </a:tr>
            </a:tbl>
          </a:graphicData>
        </a:graphic>
      </p:graphicFrame>
    </p:spTree>
    <p:extLst>
      <p:ext uri="{BB962C8B-B14F-4D97-AF65-F5344CB8AC3E}">
        <p14:creationId xmlns:p14="http://schemas.microsoft.com/office/powerpoint/2010/main" val="29556154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1</a:t>
            </a:r>
            <a:endParaRPr lang="en-GB" dirty="0"/>
          </a:p>
        </p:txBody>
      </p:sp>
      <p:graphicFrame>
        <p:nvGraphicFramePr>
          <p:cNvPr id="10" name="NewSlide_TimeTable" hidden="1">
            <a:extLst>
              <a:ext uri="{FF2B5EF4-FFF2-40B4-BE49-F238E27FC236}">
                <a16:creationId xmlns:a16="http://schemas.microsoft.com/office/drawing/2014/main" id="{949403AE-1064-4981-A893-BF19F302959C}"/>
              </a:ext>
            </a:extLst>
          </p:cNvPr>
          <p:cNvGraphicFramePr>
            <a:graphicFrameLocks noGrp="1"/>
          </p:cNvGraphicFramePr>
          <p:nvPr userDrawn="1">
            <p:extLst>
              <p:ext uri="{D42A27DB-BD31-4B8C-83A1-F6EECF244321}">
                <p14:modId xmlns:p14="http://schemas.microsoft.com/office/powerpoint/2010/main" val="2869790275"/>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97431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9840913" cy="720000"/>
          </a:xfrm>
        </p:spPr>
        <p:txBody>
          <a:bodyPr/>
          <a:lstStyle/>
          <a:p>
            <a:r>
              <a:rPr lang="en-US"/>
              <a:t>Click to edit Master title style</a:t>
            </a:r>
            <a:endParaRPr lang="en-GB" dirty="0"/>
          </a:p>
        </p:txBody>
      </p:sp>
      <p:sp>
        <p:nvSpPr>
          <p:cNvPr id="8" name="Freeform: Shape 7">
            <a:extLst>
              <a:ext uri="{FF2B5EF4-FFF2-40B4-BE49-F238E27FC236}">
                <a16:creationId xmlns:a16="http://schemas.microsoft.com/office/drawing/2014/main" id="{CC53A116-AE64-4BD1-9FAE-4644DD0BE318}"/>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2"/>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587159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6"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2</a:t>
            </a:r>
            <a:endParaRPr lang="en-GB" dirty="0"/>
          </a:p>
        </p:txBody>
      </p:sp>
      <p:graphicFrame>
        <p:nvGraphicFramePr>
          <p:cNvPr id="2" name="NewSlide_TimeTable" hidden="1">
            <a:extLst>
              <a:ext uri="{FF2B5EF4-FFF2-40B4-BE49-F238E27FC236}">
                <a16:creationId xmlns:a16="http://schemas.microsoft.com/office/drawing/2014/main" id="{381B1669-406C-4682-BB7D-2A73E646FD83}"/>
              </a:ext>
            </a:extLst>
          </p:cNvPr>
          <p:cNvGraphicFramePr>
            <a:graphicFrameLocks noGrp="1"/>
          </p:cNvGraphicFramePr>
          <p:nvPr userDrawn="1">
            <p:extLst>
              <p:ext uri="{D42A27DB-BD31-4B8C-83A1-F6EECF244321}">
                <p14:modId xmlns:p14="http://schemas.microsoft.com/office/powerpoint/2010/main" val="3186519092"/>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6782028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accent1"/>
        </a:solidFill>
        <a:effectLst/>
      </p:bgPr>
    </p:bg>
    <p:spTree>
      <p:nvGrpSpPr>
        <p:cNvPr id="1" name=""/>
        <p:cNvGrpSpPr/>
        <p:nvPr/>
      </p:nvGrpSpPr>
      <p:grpSpPr>
        <a:xfrm>
          <a:off x="0" y="0"/>
          <a:ext cx="0" cy="0"/>
          <a:chOff x="0" y="0"/>
          <a:chExt cx="0" cy="0"/>
        </a:xfrm>
      </p:grpSpPr>
      <p:sp>
        <p:nvSpPr>
          <p:cNvPr id="3" name="Company string">
            <a:extLst>
              <a:ext uri="{FF2B5EF4-FFF2-40B4-BE49-F238E27FC236}">
                <a16:creationId xmlns:a16="http://schemas.microsoft.com/office/drawing/2014/main" id="{EA41C69A-8F66-4841-BB68-FAF02F0649F5}"/>
              </a:ext>
            </a:extLst>
          </p:cNvPr>
          <p:cNvSpPr txBox="1"/>
          <p:nvPr userDrawn="1"/>
        </p:nvSpPr>
        <p:spPr>
          <a:xfrm>
            <a:off x="719137" y="3915130"/>
            <a:ext cx="10753723" cy="2222147"/>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dirty="0"/>
              <a:t>twobirds.com</a:t>
            </a:r>
          </a:p>
          <a:p>
            <a:pPr lvl="1">
              <a:lnSpc>
                <a:spcPct val="100000"/>
              </a:lnSpc>
              <a:spcAft>
                <a:spcPts val="1200"/>
              </a:spcAft>
            </a:pPr>
            <a:r>
              <a:rPr lang="en-GB" sz="1200" i="1" dirty="0">
                <a:solidFill>
                  <a:schemeClr val="tx2"/>
                </a:solidFill>
              </a:rPr>
              <a:t>●</a:t>
            </a:r>
            <a:r>
              <a:rPr lang="en-GB" sz="1200" i="1" dirty="0"/>
              <a:t> Abu Dhabi </a:t>
            </a:r>
            <a:r>
              <a:rPr lang="en-GB" sz="1200" i="1" dirty="0">
                <a:solidFill>
                  <a:schemeClr val="tx2"/>
                </a:solidFill>
              </a:rPr>
              <a:t>●</a:t>
            </a:r>
            <a:r>
              <a:rPr lang="en-GB" sz="1200" i="1" dirty="0"/>
              <a:t> Amsterdam </a:t>
            </a:r>
            <a:r>
              <a:rPr lang="en-GB" sz="1200" i="1" dirty="0">
                <a:solidFill>
                  <a:schemeClr val="tx2"/>
                </a:solidFill>
              </a:rPr>
              <a:t>●</a:t>
            </a:r>
            <a:r>
              <a:rPr lang="en-GB" sz="1200" i="1" dirty="0"/>
              <a:t> Beijing </a:t>
            </a:r>
            <a:r>
              <a:rPr lang="en-GB" sz="1200" i="1" dirty="0">
                <a:solidFill>
                  <a:schemeClr val="tx2"/>
                </a:solidFill>
              </a:rPr>
              <a:t>●</a:t>
            </a:r>
            <a:r>
              <a:rPr lang="en-GB" sz="1200" i="1" dirty="0"/>
              <a:t> Bratislava </a:t>
            </a:r>
            <a:r>
              <a:rPr lang="en-GB" sz="1200" i="1" dirty="0">
                <a:solidFill>
                  <a:schemeClr val="tx2"/>
                </a:solidFill>
              </a:rPr>
              <a:t>●</a:t>
            </a:r>
            <a:r>
              <a:rPr lang="en-GB" sz="1200" i="1" dirty="0"/>
              <a:t> Brussels </a:t>
            </a:r>
            <a:r>
              <a:rPr lang="en-GB" sz="1200" i="1" dirty="0">
                <a:solidFill>
                  <a:schemeClr val="tx2"/>
                </a:solidFill>
              </a:rPr>
              <a:t>●</a:t>
            </a:r>
            <a:r>
              <a:rPr lang="en-GB" sz="1200" i="1" dirty="0"/>
              <a:t> Budapest </a:t>
            </a:r>
            <a:r>
              <a:rPr lang="en-GB" sz="1200" i="1" dirty="0">
                <a:solidFill>
                  <a:schemeClr val="tx2"/>
                </a:solidFill>
              </a:rPr>
              <a:t>●</a:t>
            </a:r>
            <a:r>
              <a:rPr lang="en-GB" sz="1200" i="1" dirty="0"/>
              <a:t> Casablanca </a:t>
            </a:r>
            <a:r>
              <a:rPr lang="en-GB" sz="1200" i="1" dirty="0">
                <a:solidFill>
                  <a:schemeClr val="tx2"/>
                </a:solidFill>
              </a:rPr>
              <a:t>●</a:t>
            </a:r>
            <a:r>
              <a:rPr lang="en-GB" sz="1200" i="1" dirty="0"/>
              <a:t> Copenhagen </a:t>
            </a:r>
            <a:r>
              <a:rPr lang="en-GB" sz="1200" i="1" dirty="0">
                <a:solidFill>
                  <a:schemeClr val="tx2"/>
                </a:solidFill>
              </a:rPr>
              <a:t>●</a:t>
            </a:r>
            <a:r>
              <a:rPr lang="en-GB" sz="1200" i="1" dirty="0"/>
              <a:t> Dubai </a:t>
            </a:r>
            <a:r>
              <a:rPr lang="en-GB" sz="1200" i="1" dirty="0">
                <a:solidFill>
                  <a:schemeClr val="tx2"/>
                </a:solidFill>
              </a:rPr>
              <a:t>●</a:t>
            </a:r>
            <a:r>
              <a:rPr lang="en-GB" sz="1200" i="1" dirty="0"/>
              <a:t> Dusseldorf </a:t>
            </a:r>
            <a:r>
              <a:rPr lang="en-GB" sz="1200" i="1" dirty="0">
                <a:solidFill>
                  <a:schemeClr val="tx2"/>
                </a:solidFill>
              </a:rPr>
              <a:t>●</a:t>
            </a:r>
            <a:r>
              <a:rPr lang="en-GB" sz="1200" i="1" dirty="0"/>
              <a:t> Frankfurt </a:t>
            </a:r>
            <a:r>
              <a:rPr lang="en-GB" sz="1200" i="1" dirty="0">
                <a:solidFill>
                  <a:schemeClr val="tx2"/>
                </a:solidFill>
              </a:rPr>
              <a:t>●</a:t>
            </a:r>
            <a:r>
              <a:rPr lang="en-GB" sz="1200" i="1" dirty="0"/>
              <a:t> The Hague </a:t>
            </a:r>
            <a:r>
              <a:rPr lang="en-GB" sz="1200" i="1" dirty="0">
                <a:solidFill>
                  <a:schemeClr val="tx2"/>
                </a:solidFill>
              </a:rPr>
              <a:t>●</a:t>
            </a:r>
            <a:r>
              <a:rPr lang="en-GB" sz="1200" i="1" dirty="0"/>
              <a:t> Hamburg </a:t>
            </a:r>
            <a:r>
              <a:rPr lang="en-GB" sz="1200" i="1" dirty="0">
                <a:solidFill>
                  <a:schemeClr val="tx2"/>
                </a:solidFill>
              </a:rPr>
              <a:t>●</a:t>
            </a:r>
            <a:r>
              <a:rPr lang="en-GB" sz="1200" i="1" dirty="0"/>
              <a:t> Helsinki </a:t>
            </a:r>
            <a:r>
              <a:rPr lang="en-GB" sz="1200" i="1" dirty="0">
                <a:solidFill>
                  <a:schemeClr val="tx2"/>
                </a:solidFill>
              </a:rPr>
              <a:t>●</a:t>
            </a:r>
            <a:r>
              <a:rPr lang="en-GB" sz="1200" i="1" dirty="0"/>
              <a:t> Hong Kong </a:t>
            </a:r>
            <a:r>
              <a:rPr lang="en-GB" sz="1200" i="1" dirty="0">
                <a:solidFill>
                  <a:schemeClr val="tx2"/>
                </a:solidFill>
              </a:rPr>
              <a:t>●</a:t>
            </a:r>
            <a:r>
              <a:rPr lang="en-GB" sz="1200" i="1" dirty="0"/>
              <a:t> London </a:t>
            </a:r>
            <a:r>
              <a:rPr lang="en-GB" sz="1200" i="1" dirty="0">
                <a:solidFill>
                  <a:schemeClr val="tx2"/>
                </a:solidFill>
              </a:rPr>
              <a:t>●</a:t>
            </a:r>
            <a:r>
              <a:rPr lang="en-GB" sz="1200" i="1" dirty="0"/>
              <a:t> Luxembourg </a:t>
            </a:r>
            <a:r>
              <a:rPr lang="en-GB" sz="1200" i="1" dirty="0">
                <a:solidFill>
                  <a:schemeClr val="tx2"/>
                </a:solidFill>
              </a:rPr>
              <a:t>●</a:t>
            </a:r>
            <a:r>
              <a:rPr lang="en-GB" sz="1200" i="1" dirty="0"/>
              <a:t> Lyon </a:t>
            </a:r>
            <a:r>
              <a:rPr lang="en-GB" sz="1200" i="1" dirty="0">
                <a:solidFill>
                  <a:schemeClr val="tx2"/>
                </a:solidFill>
              </a:rPr>
              <a:t>●</a:t>
            </a:r>
            <a:r>
              <a:rPr lang="en-GB" sz="1200" i="1" dirty="0"/>
              <a:t> Madrid </a:t>
            </a:r>
            <a:r>
              <a:rPr lang="en-GB" sz="1200" i="1" dirty="0">
                <a:solidFill>
                  <a:schemeClr val="tx2"/>
                </a:solidFill>
              </a:rPr>
              <a:t>●</a:t>
            </a:r>
            <a:r>
              <a:rPr lang="en-GB" sz="1200" i="1" dirty="0"/>
              <a:t> Milan </a:t>
            </a:r>
            <a:r>
              <a:rPr lang="en-GB" sz="1200" i="1" dirty="0">
                <a:solidFill>
                  <a:schemeClr val="tx2"/>
                </a:solidFill>
              </a:rPr>
              <a:t>●</a:t>
            </a:r>
            <a:r>
              <a:rPr lang="en-GB" sz="1200" i="1" dirty="0"/>
              <a:t> Munich </a:t>
            </a:r>
            <a:r>
              <a:rPr lang="en-GB" sz="1200" i="1" dirty="0">
                <a:solidFill>
                  <a:schemeClr val="tx2"/>
                </a:solidFill>
              </a:rPr>
              <a:t>●</a:t>
            </a:r>
            <a:r>
              <a:rPr lang="en-GB" sz="1200" i="1" dirty="0"/>
              <a:t> Paris </a:t>
            </a:r>
            <a:r>
              <a:rPr lang="en-GB" sz="1200" i="1" dirty="0">
                <a:solidFill>
                  <a:schemeClr val="tx2"/>
                </a:solidFill>
              </a:rPr>
              <a:t>●</a:t>
            </a:r>
            <a:r>
              <a:rPr lang="en-GB" sz="1200" i="1" dirty="0"/>
              <a:t> Prague </a:t>
            </a:r>
            <a:r>
              <a:rPr lang="en-GB" sz="1200" i="1" dirty="0">
                <a:solidFill>
                  <a:schemeClr val="tx2"/>
                </a:solidFill>
              </a:rPr>
              <a:t>●</a:t>
            </a:r>
            <a:r>
              <a:rPr lang="en-GB" sz="1200" i="1" dirty="0"/>
              <a:t> Rome </a:t>
            </a:r>
            <a:r>
              <a:rPr lang="en-GB" sz="1200" i="1" dirty="0">
                <a:solidFill>
                  <a:schemeClr val="tx2"/>
                </a:solidFill>
              </a:rPr>
              <a:t>●</a:t>
            </a:r>
            <a:r>
              <a:rPr lang="en-GB" sz="1200" i="1" dirty="0"/>
              <a:t> San Francisco </a:t>
            </a:r>
            <a:r>
              <a:rPr lang="en-GB" sz="1200" i="1" dirty="0">
                <a:solidFill>
                  <a:schemeClr val="tx2"/>
                </a:solidFill>
              </a:rPr>
              <a:t>●</a:t>
            </a:r>
            <a:r>
              <a:rPr lang="en-GB" sz="1200" i="1" dirty="0"/>
              <a:t> Shanghai </a:t>
            </a:r>
            <a:r>
              <a:rPr lang="en-GB" sz="1200" i="1" dirty="0">
                <a:solidFill>
                  <a:schemeClr val="tx2"/>
                </a:solidFill>
              </a:rPr>
              <a:t>●</a:t>
            </a:r>
            <a:r>
              <a:rPr lang="en-GB" sz="1200" i="1" dirty="0"/>
              <a:t> Singapore </a:t>
            </a:r>
            <a:r>
              <a:rPr lang="en-GB" sz="1200" i="1" dirty="0">
                <a:solidFill>
                  <a:schemeClr val="tx2"/>
                </a:solidFill>
              </a:rPr>
              <a:t>●</a:t>
            </a:r>
            <a:r>
              <a:rPr lang="en-GB" sz="1200" i="1" dirty="0"/>
              <a:t> Stockholm </a:t>
            </a:r>
            <a:r>
              <a:rPr lang="en-GB" sz="1200" i="1" dirty="0">
                <a:solidFill>
                  <a:schemeClr val="tx2"/>
                </a:solidFill>
              </a:rPr>
              <a:t>●</a:t>
            </a:r>
            <a:r>
              <a:rPr lang="en-GB" sz="1200" i="1" dirty="0"/>
              <a:t> Sydney </a:t>
            </a:r>
            <a:r>
              <a:rPr lang="en-GB" sz="1200" i="1" dirty="0">
                <a:solidFill>
                  <a:schemeClr val="tx2"/>
                </a:solidFill>
              </a:rPr>
              <a:t>●</a:t>
            </a:r>
            <a:r>
              <a:rPr lang="en-GB" sz="1200" i="1" dirty="0"/>
              <a:t> Warsaw</a:t>
            </a:r>
          </a:p>
          <a:p>
            <a:pPr marR="0" lvl="2" algn="l" rtl="0">
              <a:lnSpc>
                <a:spcPct val="95000"/>
              </a:lnSpc>
              <a:spcBef>
                <a:spcPts val="300"/>
              </a:spcBef>
            </a:pPr>
            <a:r>
              <a:rPr lang="en-GB" sz="800" i="0" kern="800" spc="-10" baseline="0" dirty="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marR="0" lvl="2" algn="l" rtl="0">
              <a:lnSpc>
                <a:spcPct val="95000"/>
              </a:lnSpc>
              <a:spcBef>
                <a:spcPts val="300"/>
              </a:spcBef>
            </a:pPr>
            <a:r>
              <a:rPr lang="en-GB" sz="800" i="0" kern="800" spc="-10" baseline="0" dirty="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marR="0" lvl="2" algn="l" rtl="0">
              <a:lnSpc>
                <a:spcPct val="95000"/>
              </a:lnSpc>
              <a:spcBef>
                <a:spcPts val="300"/>
              </a:spcBef>
            </a:pPr>
            <a:r>
              <a:rPr lang="en-GB" sz="800" i="0" kern="800" spc="-10" baseline="0" dirty="0">
                <a:latin typeface="+mn-lt"/>
              </a:rPr>
              <a:t>Bird &amp; Bird is an international legal practice comprising Bird &amp; Bird LLP and its affiliated and associated businesses.</a:t>
            </a:r>
          </a:p>
          <a:p>
            <a:pPr marR="0" lvl="2" algn="l" rtl="0">
              <a:lnSpc>
                <a:spcPct val="95000"/>
              </a:lnSpc>
              <a:spcBef>
                <a:spcPts val="300"/>
              </a:spcBef>
            </a:pPr>
            <a:r>
              <a:rPr lang="en-GB" sz="800" i="0" kern="800" spc="-10" baseline="0" dirty="0">
                <a:latin typeface="+mn-lt"/>
              </a:rPr>
              <a:t>Bird &amp; Bird LLP is a limited liability partnership, registered in England and Wales with registered number OC340318 and is authorised and regulated by the Solicitors Regulation Authority. Its registered office and principal place of business is at </a:t>
            </a:r>
            <a:br>
              <a:rPr lang="en-GB" sz="800" i="0" kern="800" spc="-10" baseline="0" dirty="0">
                <a:latin typeface="+mn-lt"/>
              </a:rPr>
            </a:br>
            <a:r>
              <a:rPr lang="en-GB" sz="800" i="0" kern="800" spc="-10" baseline="0" dirty="0">
                <a:latin typeface="+mn-lt"/>
              </a:rPr>
              <a:t>12 New Fetter Lane, London EC4A 1JP. A list of members of Bird &amp; Bird LLP and of any non-members who are designated as partners, and of their respective professional qualifications, is open to inspection at that address.</a:t>
            </a:r>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u="none">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8" name="Group 17">
            <a:extLst>
              <a:ext uri="{FF2B5EF4-FFF2-40B4-BE49-F238E27FC236}">
                <a16:creationId xmlns:a16="http://schemas.microsoft.com/office/drawing/2014/main" id="{97C84B20-5499-4342-896D-723C87B7442C}"/>
              </a:ext>
            </a:extLst>
          </p:cNvPr>
          <p:cNvGrpSpPr/>
          <p:nvPr userDrawn="1"/>
        </p:nvGrpSpPr>
        <p:grpSpPr>
          <a:xfrm>
            <a:off x="0" y="2161032"/>
            <a:ext cx="6006209" cy="266700"/>
            <a:chOff x="0" y="2161032"/>
            <a:chExt cx="6006209" cy="266700"/>
          </a:xfrm>
        </p:grpSpPr>
        <p:sp>
          <p:nvSpPr>
            <p:cNvPr id="15" name="Freeform: Shape 14">
              <a:extLst>
                <a:ext uri="{FF2B5EF4-FFF2-40B4-BE49-F238E27FC236}">
                  <a16:creationId xmlns:a16="http://schemas.microsoft.com/office/drawing/2014/main" id="{D0CB0E7A-7933-467F-B168-69AEB01ABB2E}"/>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B03A7AE-CEF5-4216-A585-33CCFF6B91E5}"/>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5275912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ackpag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u="none">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5B7F25C4-5391-4351-A592-73666979B8D6}"/>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E4D40EB5-D7EF-4718-87C0-BC012360128F}"/>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5C4EE9B5-8FDD-4C14-8E74-0F02715AE664}"/>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1"/>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905F3556-7389-46ED-AEED-155B03E06C8D}"/>
              </a:ext>
            </a:extLst>
          </p:cNvPr>
          <p:cNvSpPr txBox="1"/>
          <p:nvPr userDrawn="1"/>
        </p:nvSpPr>
        <p:spPr>
          <a:xfrm>
            <a:off x="719137" y="3915130"/>
            <a:ext cx="10753723" cy="2222147"/>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dirty="0"/>
              <a:t>twobirds.com</a:t>
            </a:r>
          </a:p>
          <a:p>
            <a:pPr lvl="1">
              <a:lnSpc>
                <a:spcPct val="100000"/>
              </a:lnSpc>
              <a:spcAft>
                <a:spcPts val="1200"/>
              </a:spcAft>
            </a:pPr>
            <a:r>
              <a:rPr lang="en-GB" sz="1200" i="1" dirty="0">
                <a:solidFill>
                  <a:schemeClr val="tx2"/>
                </a:solidFill>
              </a:rPr>
              <a:t>●</a:t>
            </a:r>
            <a:r>
              <a:rPr lang="en-GB" sz="1200" i="1" dirty="0"/>
              <a:t> Abu Dhabi </a:t>
            </a:r>
            <a:r>
              <a:rPr lang="en-GB" sz="1200" i="1" dirty="0">
                <a:solidFill>
                  <a:schemeClr val="tx2"/>
                </a:solidFill>
              </a:rPr>
              <a:t>●</a:t>
            </a:r>
            <a:r>
              <a:rPr lang="en-GB" sz="1200" i="1" dirty="0"/>
              <a:t> Amsterdam </a:t>
            </a:r>
            <a:r>
              <a:rPr lang="en-GB" sz="1200" i="1" dirty="0">
                <a:solidFill>
                  <a:schemeClr val="tx2"/>
                </a:solidFill>
              </a:rPr>
              <a:t>●</a:t>
            </a:r>
            <a:r>
              <a:rPr lang="en-GB" sz="1200" i="1" dirty="0"/>
              <a:t> Beijing </a:t>
            </a:r>
            <a:r>
              <a:rPr lang="en-GB" sz="1200" i="1" dirty="0">
                <a:solidFill>
                  <a:schemeClr val="tx2"/>
                </a:solidFill>
              </a:rPr>
              <a:t>●</a:t>
            </a:r>
            <a:r>
              <a:rPr lang="en-GB" sz="1200" i="1" dirty="0"/>
              <a:t> Bratislava </a:t>
            </a:r>
            <a:r>
              <a:rPr lang="en-GB" sz="1200" i="1" dirty="0">
                <a:solidFill>
                  <a:schemeClr val="tx2"/>
                </a:solidFill>
              </a:rPr>
              <a:t>●</a:t>
            </a:r>
            <a:r>
              <a:rPr lang="en-GB" sz="1200" i="1" dirty="0"/>
              <a:t> Brussels </a:t>
            </a:r>
            <a:r>
              <a:rPr lang="en-GB" sz="1200" i="1" dirty="0">
                <a:solidFill>
                  <a:schemeClr val="tx2"/>
                </a:solidFill>
              </a:rPr>
              <a:t>●</a:t>
            </a:r>
            <a:r>
              <a:rPr lang="en-GB" sz="1200" i="1" dirty="0"/>
              <a:t> Budapest </a:t>
            </a:r>
            <a:r>
              <a:rPr lang="en-GB" sz="1200" i="1" dirty="0">
                <a:solidFill>
                  <a:schemeClr val="tx2"/>
                </a:solidFill>
              </a:rPr>
              <a:t>●</a:t>
            </a:r>
            <a:r>
              <a:rPr lang="en-GB" sz="1200" i="1" dirty="0"/>
              <a:t> Casablanca </a:t>
            </a:r>
            <a:r>
              <a:rPr lang="en-GB" sz="1200" i="1" dirty="0">
                <a:solidFill>
                  <a:schemeClr val="tx2"/>
                </a:solidFill>
              </a:rPr>
              <a:t>●</a:t>
            </a:r>
            <a:r>
              <a:rPr lang="en-GB" sz="1200" i="1" dirty="0"/>
              <a:t> Copenhagen </a:t>
            </a:r>
            <a:r>
              <a:rPr lang="en-GB" sz="1200" i="1" dirty="0">
                <a:solidFill>
                  <a:schemeClr val="tx2"/>
                </a:solidFill>
              </a:rPr>
              <a:t>●</a:t>
            </a:r>
            <a:r>
              <a:rPr lang="en-GB" sz="1200" i="1" dirty="0"/>
              <a:t> Dubai </a:t>
            </a:r>
            <a:r>
              <a:rPr lang="en-GB" sz="1200" i="1" dirty="0">
                <a:solidFill>
                  <a:schemeClr val="tx2"/>
                </a:solidFill>
              </a:rPr>
              <a:t>●</a:t>
            </a:r>
            <a:r>
              <a:rPr lang="en-GB" sz="1200" i="1" dirty="0"/>
              <a:t> Dusseldorf </a:t>
            </a:r>
            <a:r>
              <a:rPr lang="en-GB" sz="1200" i="1" dirty="0">
                <a:solidFill>
                  <a:schemeClr val="tx2"/>
                </a:solidFill>
              </a:rPr>
              <a:t>●</a:t>
            </a:r>
            <a:r>
              <a:rPr lang="en-GB" sz="1200" i="1" dirty="0"/>
              <a:t> Frankfurt </a:t>
            </a:r>
            <a:r>
              <a:rPr lang="en-GB" sz="1200" i="1" dirty="0">
                <a:solidFill>
                  <a:schemeClr val="tx2"/>
                </a:solidFill>
              </a:rPr>
              <a:t>●</a:t>
            </a:r>
            <a:r>
              <a:rPr lang="en-GB" sz="1200" i="1" dirty="0"/>
              <a:t> The Hague </a:t>
            </a:r>
            <a:r>
              <a:rPr lang="en-GB" sz="1200" i="1" dirty="0">
                <a:solidFill>
                  <a:schemeClr val="tx2"/>
                </a:solidFill>
              </a:rPr>
              <a:t>●</a:t>
            </a:r>
            <a:r>
              <a:rPr lang="en-GB" sz="1200" i="1" dirty="0"/>
              <a:t> Hamburg </a:t>
            </a:r>
            <a:r>
              <a:rPr lang="en-GB" sz="1200" i="1" dirty="0">
                <a:solidFill>
                  <a:schemeClr val="tx2"/>
                </a:solidFill>
              </a:rPr>
              <a:t>●</a:t>
            </a:r>
            <a:r>
              <a:rPr lang="en-GB" sz="1200" i="1" dirty="0"/>
              <a:t> Helsinki </a:t>
            </a:r>
            <a:r>
              <a:rPr lang="en-GB" sz="1200" i="1" dirty="0">
                <a:solidFill>
                  <a:schemeClr val="tx2"/>
                </a:solidFill>
              </a:rPr>
              <a:t>●</a:t>
            </a:r>
            <a:r>
              <a:rPr lang="en-GB" sz="1200" i="1" dirty="0"/>
              <a:t> Hong Kong </a:t>
            </a:r>
            <a:r>
              <a:rPr lang="en-GB" sz="1200" i="1" dirty="0">
                <a:solidFill>
                  <a:schemeClr val="tx2"/>
                </a:solidFill>
              </a:rPr>
              <a:t>●</a:t>
            </a:r>
            <a:r>
              <a:rPr lang="en-GB" sz="1200" i="1" dirty="0"/>
              <a:t> London </a:t>
            </a:r>
            <a:r>
              <a:rPr lang="en-GB" sz="1200" i="1" dirty="0">
                <a:solidFill>
                  <a:schemeClr val="tx2"/>
                </a:solidFill>
              </a:rPr>
              <a:t>●</a:t>
            </a:r>
            <a:r>
              <a:rPr lang="en-GB" sz="1200" i="1" dirty="0"/>
              <a:t> Luxembourg </a:t>
            </a:r>
            <a:r>
              <a:rPr lang="en-GB" sz="1200" i="1" dirty="0">
                <a:solidFill>
                  <a:schemeClr val="tx2"/>
                </a:solidFill>
              </a:rPr>
              <a:t>●</a:t>
            </a:r>
            <a:r>
              <a:rPr lang="en-GB" sz="1200" i="1" dirty="0"/>
              <a:t> Lyon </a:t>
            </a:r>
            <a:r>
              <a:rPr lang="en-GB" sz="1200" i="1" dirty="0">
                <a:solidFill>
                  <a:schemeClr val="tx2"/>
                </a:solidFill>
              </a:rPr>
              <a:t>●</a:t>
            </a:r>
            <a:r>
              <a:rPr lang="en-GB" sz="1200" i="1" dirty="0"/>
              <a:t> Madrid </a:t>
            </a:r>
            <a:r>
              <a:rPr lang="en-GB" sz="1200" i="1" dirty="0">
                <a:solidFill>
                  <a:schemeClr val="tx2"/>
                </a:solidFill>
              </a:rPr>
              <a:t>●</a:t>
            </a:r>
            <a:r>
              <a:rPr lang="en-GB" sz="1200" i="1" dirty="0"/>
              <a:t> Milan </a:t>
            </a:r>
            <a:r>
              <a:rPr lang="en-GB" sz="1200" i="1" dirty="0">
                <a:solidFill>
                  <a:schemeClr val="tx2"/>
                </a:solidFill>
              </a:rPr>
              <a:t>●</a:t>
            </a:r>
            <a:r>
              <a:rPr lang="en-GB" sz="1200" i="1" dirty="0"/>
              <a:t> Munich </a:t>
            </a:r>
            <a:r>
              <a:rPr lang="en-GB" sz="1200" i="1" dirty="0">
                <a:solidFill>
                  <a:schemeClr val="tx2"/>
                </a:solidFill>
              </a:rPr>
              <a:t>●</a:t>
            </a:r>
            <a:r>
              <a:rPr lang="en-GB" sz="1200" i="1" dirty="0"/>
              <a:t> Paris </a:t>
            </a:r>
            <a:r>
              <a:rPr lang="en-GB" sz="1200" i="1" dirty="0">
                <a:solidFill>
                  <a:schemeClr val="tx2"/>
                </a:solidFill>
              </a:rPr>
              <a:t>●</a:t>
            </a:r>
            <a:r>
              <a:rPr lang="en-GB" sz="1200" i="1" dirty="0"/>
              <a:t> Prague </a:t>
            </a:r>
            <a:r>
              <a:rPr lang="en-GB" sz="1200" i="1" dirty="0">
                <a:solidFill>
                  <a:schemeClr val="tx2"/>
                </a:solidFill>
              </a:rPr>
              <a:t>●</a:t>
            </a:r>
            <a:r>
              <a:rPr lang="en-GB" sz="1200" i="1" dirty="0"/>
              <a:t> Rome </a:t>
            </a:r>
            <a:r>
              <a:rPr lang="en-GB" sz="1200" i="1" dirty="0">
                <a:solidFill>
                  <a:schemeClr val="tx2"/>
                </a:solidFill>
              </a:rPr>
              <a:t>●</a:t>
            </a:r>
            <a:r>
              <a:rPr lang="en-GB" sz="1200" i="1" dirty="0"/>
              <a:t> San Francisco </a:t>
            </a:r>
            <a:r>
              <a:rPr lang="en-GB" sz="1200" i="1" dirty="0">
                <a:solidFill>
                  <a:schemeClr val="tx2"/>
                </a:solidFill>
              </a:rPr>
              <a:t>●</a:t>
            </a:r>
            <a:r>
              <a:rPr lang="en-GB" sz="1200" i="1" dirty="0"/>
              <a:t> Shanghai </a:t>
            </a:r>
            <a:r>
              <a:rPr lang="en-GB" sz="1200" i="1" dirty="0">
                <a:solidFill>
                  <a:schemeClr val="tx2"/>
                </a:solidFill>
              </a:rPr>
              <a:t>●</a:t>
            </a:r>
            <a:r>
              <a:rPr lang="en-GB" sz="1200" i="1" dirty="0"/>
              <a:t> Singapore </a:t>
            </a:r>
            <a:r>
              <a:rPr lang="en-GB" sz="1200" i="1" dirty="0">
                <a:solidFill>
                  <a:schemeClr val="tx2"/>
                </a:solidFill>
              </a:rPr>
              <a:t>●</a:t>
            </a:r>
            <a:r>
              <a:rPr lang="en-GB" sz="1200" i="1" dirty="0"/>
              <a:t> Stockholm </a:t>
            </a:r>
            <a:r>
              <a:rPr lang="en-GB" sz="1200" i="1" dirty="0">
                <a:solidFill>
                  <a:schemeClr val="tx2"/>
                </a:solidFill>
              </a:rPr>
              <a:t>●</a:t>
            </a:r>
            <a:r>
              <a:rPr lang="en-GB" sz="1200" i="1" dirty="0"/>
              <a:t> Sydney </a:t>
            </a:r>
            <a:r>
              <a:rPr lang="en-GB" sz="1200" i="1" dirty="0">
                <a:solidFill>
                  <a:schemeClr val="tx2"/>
                </a:solidFill>
              </a:rPr>
              <a:t>●</a:t>
            </a:r>
            <a:r>
              <a:rPr lang="en-GB" sz="1200" i="1" dirty="0"/>
              <a:t> Warsaw</a:t>
            </a:r>
          </a:p>
          <a:p>
            <a:pPr marR="0" lvl="2" algn="l" rtl="0">
              <a:lnSpc>
                <a:spcPct val="95000"/>
              </a:lnSpc>
              <a:spcBef>
                <a:spcPts val="300"/>
              </a:spcBef>
            </a:pPr>
            <a:r>
              <a:rPr lang="en-GB" sz="800" i="0" kern="800" spc="-10" baseline="0" dirty="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marR="0" lvl="2" algn="l" rtl="0">
              <a:lnSpc>
                <a:spcPct val="95000"/>
              </a:lnSpc>
              <a:spcBef>
                <a:spcPts val="300"/>
              </a:spcBef>
            </a:pPr>
            <a:r>
              <a:rPr lang="en-GB" sz="800" i="0" kern="800" spc="-10" baseline="0" dirty="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marR="0" lvl="2" algn="l" rtl="0">
              <a:lnSpc>
                <a:spcPct val="95000"/>
              </a:lnSpc>
              <a:spcBef>
                <a:spcPts val="300"/>
              </a:spcBef>
            </a:pPr>
            <a:r>
              <a:rPr lang="en-GB" sz="800" i="0" kern="800" spc="-10" baseline="0" dirty="0">
                <a:latin typeface="+mn-lt"/>
              </a:rPr>
              <a:t>Bird &amp; Bird is an international legal practice comprising Bird &amp; Bird LLP and its affiliated and associated businesses.</a:t>
            </a:r>
          </a:p>
          <a:p>
            <a:pPr marR="0" lvl="2" algn="l" rtl="0">
              <a:lnSpc>
                <a:spcPct val="95000"/>
              </a:lnSpc>
              <a:spcBef>
                <a:spcPts val="300"/>
              </a:spcBef>
            </a:pPr>
            <a:r>
              <a:rPr lang="en-GB" sz="800" i="0" kern="800" spc="-10" baseline="0" dirty="0">
                <a:latin typeface="+mn-lt"/>
              </a:rPr>
              <a:t>Bird &amp; Bird LLP is a limited liability partnership, registered in England and Wales with registered number OC340318 and is authorised and regulated by the Solicitors Regulation Authority. Its registered office and principal place of business is at </a:t>
            </a:r>
            <a:br>
              <a:rPr lang="en-GB" sz="800" i="0" kern="800" spc="-10" baseline="0" dirty="0">
                <a:latin typeface="+mn-lt"/>
              </a:rPr>
            </a:br>
            <a:r>
              <a:rPr lang="en-GB" sz="800" i="0" kern="800" spc="-10" baseline="0" dirty="0">
                <a:latin typeface="+mn-lt"/>
              </a:rPr>
              <a:t>12 New Fetter Lane, London EC4A 1JP. A list of members of Bird &amp; Bird LLP and of any non-members who are designated as partners, and of their respective professional qualifications, is open to inspection at that address.</a:t>
            </a:r>
          </a:p>
        </p:txBody>
      </p:sp>
    </p:spTree>
    <p:extLst>
      <p:ext uri="{BB962C8B-B14F-4D97-AF65-F5344CB8AC3E}">
        <p14:creationId xmlns:p14="http://schemas.microsoft.com/office/powerpoint/2010/main" val="18074593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ackpage 3">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7BAFEFDD-A1D5-4013-90A4-2006FC450FC1}"/>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1F665660-FED0-4C90-B50D-D1B1550B3901}"/>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F6FE938-8548-4B30-8E6B-1BCF3E2AF45A}"/>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5"/>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E73F8F8D-150C-4348-B806-6A5FA2941AEE}"/>
              </a:ext>
            </a:extLst>
          </p:cNvPr>
          <p:cNvSpPr txBox="1"/>
          <p:nvPr userDrawn="1"/>
        </p:nvSpPr>
        <p:spPr>
          <a:xfrm>
            <a:off x="719137" y="3915130"/>
            <a:ext cx="10753723" cy="2222147"/>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dirty="0"/>
              <a:t>twobirds.com</a:t>
            </a:r>
          </a:p>
          <a:p>
            <a:pPr lvl="1">
              <a:lnSpc>
                <a:spcPct val="100000"/>
              </a:lnSpc>
              <a:spcAft>
                <a:spcPts val="1200"/>
              </a:spcAft>
            </a:pPr>
            <a:r>
              <a:rPr lang="en-GB" sz="1200" i="1" dirty="0">
                <a:solidFill>
                  <a:schemeClr val="tx2"/>
                </a:solidFill>
              </a:rPr>
              <a:t>●</a:t>
            </a:r>
            <a:r>
              <a:rPr lang="en-GB" sz="1200" i="1" dirty="0"/>
              <a:t> Abu Dhabi </a:t>
            </a:r>
            <a:r>
              <a:rPr lang="en-GB" sz="1200" i="1" dirty="0">
                <a:solidFill>
                  <a:schemeClr val="tx2"/>
                </a:solidFill>
              </a:rPr>
              <a:t>●</a:t>
            </a:r>
            <a:r>
              <a:rPr lang="en-GB" sz="1200" i="1" dirty="0"/>
              <a:t> Amsterdam </a:t>
            </a:r>
            <a:r>
              <a:rPr lang="en-GB" sz="1200" i="1" dirty="0">
                <a:solidFill>
                  <a:schemeClr val="tx2"/>
                </a:solidFill>
              </a:rPr>
              <a:t>●</a:t>
            </a:r>
            <a:r>
              <a:rPr lang="en-GB" sz="1200" i="1" dirty="0"/>
              <a:t> Beijing </a:t>
            </a:r>
            <a:r>
              <a:rPr lang="en-GB" sz="1200" i="1" dirty="0">
                <a:solidFill>
                  <a:schemeClr val="tx2"/>
                </a:solidFill>
              </a:rPr>
              <a:t>●</a:t>
            </a:r>
            <a:r>
              <a:rPr lang="en-GB" sz="1200" i="1" dirty="0"/>
              <a:t> Bratislava </a:t>
            </a:r>
            <a:r>
              <a:rPr lang="en-GB" sz="1200" i="1" dirty="0">
                <a:solidFill>
                  <a:schemeClr val="tx2"/>
                </a:solidFill>
              </a:rPr>
              <a:t>●</a:t>
            </a:r>
            <a:r>
              <a:rPr lang="en-GB" sz="1200" i="1" dirty="0"/>
              <a:t> Brussels </a:t>
            </a:r>
            <a:r>
              <a:rPr lang="en-GB" sz="1200" i="1" dirty="0">
                <a:solidFill>
                  <a:schemeClr val="tx2"/>
                </a:solidFill>
              </a:rPr>
              <a:t>●</a:t>
            </a:r>
            <a:r>
              <a:rPr lang="en-GB" sz="1200" i="1" dirty="0"/>
              <a:t> Budapest </a:t>
            </a:r>
            <a:r>
              <a:rPr lang="en-GB" sz="1200" i="1" dirty="0">
                <a:solidFill>
                  <a:schemeClr val="tx2"/>
                </a:solidFill>
              </a:rPr>
              <a:t>●</a:t>
            </a:r>
            <a:r>
              <a:rPr lang="en-GB" sz="1200" i="1" dirty="0"/>
              <a:t> Casablanca </a:t>
            </a:r>
            <a:r>
              <a:rPr lang="en-GB" sz="1200" i="1" dirty="0">
                <a:solidFill>
                  <a:schemeClr val="tx2"/>
                </a:solidFill>
              </a:rPr>
              <a:t>●</a:t>
            </a:r>
            <a:r>
              <a:rPr lang="en-GB" sz="1200" i="1" dirty="0"/>
              <a:t> Copenhagen </a:t>
            </a:r>
            <a:r>
              <a:rPr lang="en-GB" sz="1200" i="1" dirty="0">
                <a:solidFill>
                  <a:schemeClr val="tx2"/>
                </a:solidFill>
              </a:rPr>
              <a:t>●</a:t>
            </a:r>
            <a:r>
              <a:rPr lang="en-GB" sz="1200" i="1" dirty="0"/>
              <a:t> Dubai </a:t>
            </a:r>
            <a:r>
              <a:rPr lang="en-GB" sz="1200" i="1" dirty="0">
                <a:solidFill>
                  <a:schemeClr val="tx2"/>
                </a:solidFill>
              </a:rPr>
              <a:t>●</a:t>
            </a:r>
            <a:r>
              <a:rPr lang="en-GB" sz="1200" i="1" dirty="0"/>
              <a:t> Dusseldorf </a:t>
            </a:r>
            <a:r>
              <a:rPr lang="en-GB" sz="1200" i="1" dirty="0">
                <a:solidFill>
                  <a:schemeClr val="tx2"/>
                </a:solidFill>
              </a:rPr>
              <a:t>●</a:t>
            </a:r>
            <a:r>
              <a:rPr lang="en-GB" sz="1200" i="1" dirty="0"/>
              <a:t> Frankfurt </a:t>
            </a:r>
            <a:r>
              <a:rPr lang="en-GB" sz="1200" i="1" dirty="0">
                <a:solidFill>
                  <a:schemeClr val="tx2"/>
                </a:solidFill>
              </a:rPr>
              <a:t>●</a:t>
            </a:r>
            <a:r>
              <a:rPr lang="en-GB" sz="1200" i="1" dirty="0"/>
              <a:t> The Hague </a:t>
            </a:r>
            <a:r>
              <a:rPr lang="en-GB" sz="1200" i="1" dirty="0">
                <a:solidFill>
                  <a:schemeClr val="tx2"/>
                </a:solidFill>
              </a:rPr>
              <a:t>●</a:t>
            </a:r>
            <a:r>
              <a:rPr lang="en-GB" sz="1200" i="1" dirty="0"/>
              <a:t> Hamburg </a:t>
            </a:r>
            <a:r>
              <a:rPr lang="en-GB" sz="1200" i="1" dirty="0">
                <a:solidFill>
                  <a:schemeClr val="tx2"/>
                </a:solidFill>
              </a:rPr>
              <a:t>●</a:t>
            </a:r>
            <a:r>
              <a:rPr lang="en-GB" sz="1200" i="1" dirty="0"/>
              <a:t> Helsinki </a:t>
            </a:r>
            <a:r>
              <a:rPr lang="en-GB" sz="1200" i="1" dirty="0">
                <a:solidFill>
                  <a:schemeClr val="tx2"/>
                </a:solidFill>
              </a:rPr>
              <a:t>●</a:t>
            </a:r>
            <a:r>
              <a:rPr lang="en-GB" sz="1200" i="1" dirty="0"/>
              <a:t> Hong Kong </a:t>
            </a:r>
            <a:r>
              <a:rPr lang="en-GB" sz="1200" i="1" dirty="0">
                <a:solidFill>
                  <a:schemeClr val="tx2"/>
                </a:solidFill>
              </a:rPr>
              <a:t>●</a:t>
            </a:r>
            <a:r>
              <a:rPr lang="en-GB" sz="1200" i="1" dirty="0"/>
              <a:t> London </a:t>
            </a:r>
            <a:r>
              <a:rPr lang="en-GB" sz="1200" i="1" dirty="0">
                <a:solidFill>
                  <a:schemeClr val="tx2"/>
                </a:solidFill>
              </a:rPr>
              <a:t>●</a:t>
            </a:r>
            <a:r>
              <a:rPr lang="en-GB" sz="1200" i="1" dirty="0"/>
              <a:t> Luxembourg </a:t>
            </a:r>
            <a:r>
              <a:rPr lang="en-GB" sz="1200" i="1" dirty="0">
                <a:solidFill>
                  <a:schemeClr val="tx2"/>
                </a:solidFill>
              </a:rPr>
              <a:t>●</a:t>
            </a:r>
            <a:r>
              <a:rPr lang="en-GB" sz="1200" i="1" dirty="0"/>
              <a:t> Lyon </a:t>
            </a:r>
            <a:r>
              <a:rPr lang="en-GB" sz="1200" i="1" dirty="0">
                <a:solidFill>
                  <a:schemeClr val="tx2"/>
                </a:solidFill>
              </a:rPr>
              <a:t>●</a:t>
            </a:r>
            <a:r>
              <a:rPr lang="en-GB" sz="1200" i="1" dirty="0"/>
              <a:t> Madrid </a:t>
            </a:r>
            <a:r>
              <a:rPr lang="en-GB" sz="1200" i="1" dirty="0">
                <a:solidFill>
                  <a:schemeClr val="tx2"/>
                </a:solidFill>
              </a:rPr>
              <a:t>●</a:t>
            </a:r>
            <a:r>
              <a:rPr lang="en-GB" sz="1200" i="1" dirty="0"/>
              <a:t> Milan </a:t>
            </a:r>
            <a:r>
              <a:rPr lang="en-GB" sz="1200" i="1" dirty="0">
                <a:solidFill>
                  <a:schemeClr val="tx2"/>
                </a:solidFill>
              </a:rPr>
              <a:t>●</a:t>
            </a:r>
            <a:r>
              <a:rPr lang="en-GB" sz="1200" i="1" dirty="0"/>
              <a:t> Munich </a:t>
            </a:r>
            <a:r>
              <a:rPr lang="en-GB" sz="1200" i="1" dirty="0">
                <a:solidFill>
                  <a:schemeClr val="tx2"/>
                </a:solidFill>
              </a:rPr>
              <a:t>●</a:t>
            </a:r>
            <a:r>
              <a:rPr lang="en-GB" sz="1200" i="1" dirty="0"/>
              <a:t> Paris </a:t>
            </a:r>
            <a:r>
              <a:rPr lang="en-GB" sz="1200" i="1" dirty="0">
                <a:solidFill>
                  <a:schemeClr val="tx2"/>
                </a:solidFill>
              </a:rPr>
              <a:t>●</a:t>
            </a:r>
            <a:r>
              <a:rPr lang="en-GB" sz="1200" i="1" dirty="0"/>
              <a:t> Prague </a:t>
            </a:r>
            <a:r>
              <a:rPr lang="en-GB" sz="1200" i="1" dirty="0">
                <a:solidFill>
                  <a:schemeClr val="tx2"/>
                </a:solidFill>
              </a:rPr>
              <a:t>●</a:t>
            </a:r>
            <a:r>
              <a:rPr lang="en-GB" sz="1200" i="1" dirty="0"/>
              <a:t> Rome </a:t>
            </a:r>
            <a:r>
              <a:rPr lang="en-GB" sz="1200" i="1" dirty="0">
                <a:solidFill>
                  <a:schemeClr val="tx2"/>
                </a:solidFill>
              </a:rPr>
              <a:t>●</a:t>
            </a:r>
            <a:r>
              <a:rPr lang="en-GB" sz="1200" i="1" dirty="0"/>
              <a:t> San Francisco </a:t>
            </a:r>
            <a:r>
              <a:rPr lang="en-GB" sz="1200" i="1" dirty="0">
                <a:solidFill>
                  <a:schemeClr val="tx2"/>
                </a:solidFill>
              </a:rPr>
              <a:t>●</a:t>
            </a:r>
            <a:r>
              <a:rPr lang="en-GB" sz="1200" i="1" dirty="0"/>
              <a:t> Shanghai </a:t>
            </a:r>
            <a:r>
              <a:rPr lang="en-GB" sz="1200" i="1" dirty="0">
                <a:solidFill>
                  <a:schemeClr val="tx2"/>
                </a:solidFill>
              </a:rPr>
              <a:t>●</a:t>
            </a:r>
            <a:r>
              <a:rPr lang="en-GB" sz="1200" i="1" dirty="0"/>
              <a:t> Singapore </a:t>
            </a:r>
            <a:r>
              <a:rPr lang="en-GB" sz="1200" i="1" dirty="0">
                <a:solidFill>
                  <a:schemeClr val="tx2"/>
                </a:solidFill>
              </a:rPr>
              <a:t>●</a:t>
            </a:r>
            <a:r>
              <a:rPr lang="en-GB" sz="1200" i="1" dirty="0"/>
              <a:t> Stockholm </a:t>
            </a:r>
            <a:r>
              <a:rPr lang="en-GB" sz="1200" i="1" dirty="0">
                <a:solidFill>
                  <a:schemeClr val="tx2"/>
                </a:solidFill>
              </a:rPr>
              <a:t>●</a:t>
            </a:r>
            <a:r>
              <a:rPr lang="en-GB" sz="1200" i="1" dirty="0"/>
              <a:t> Sydney </a:t>
            </a:r>
            <a:r>
              <a:rPr lang="en-GB" sz="1200" i="1" dirty="0">
                <a:solidFill>
                  <a:schemeClr val="tx2"/>
                </a:solidFill>
              </a:rPr>
              <a:t>●</a:t>
            </a:r>
            <a:r>
              <a:rPr lang="en-GB" sz="1200" i="1" dirty="0"/>
              <a:t> Warsaw</a:t>
            </a:r>
          </a:p>
          <a:p>
            <a:pPr marR="0" lvl="2" algn="l" rtl="0">
              <a:lnSpc>
                <a:spcPct val="95000"/>
              </a:lnSpc>
              <a:spcBef>
                <a:spcPts val="300"/>
              </a:spcBef>
            </a:pPr>
            <a:r>
              <a:rPr lang="en-GB" sz="800" i="0" kern="800" spc="-10" baseline="0" dirty="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marR="0" lvl="2" algn="l" rtl="0">
              <a:lnSpc>
                <a:spcPct val="95000"/>
              </a:lnSpc>
              <a:spcBef>
                <a:spcPts val="300"/>
              </a:spcBef>
            </a:pPr>
            <a:r>
              <a:rPr lang="en-GB" sz="800" i="0" kern="800" spc="-10" baseline="0" dirty="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marR="0" lvl="2" algn="l" rtl="0">
              <a:lnSpc>
                <a:spcPct val="95000"/>
              </a:lnSpc>
              <a:spcBef>
                <a:spcPts val="300"/>
              </a:spcBef>
            </a:pPr>
            <a:r>
              <a:rPr lang="en-GB" sz="800" i="0" kern="800" spc="-10" baseline="0" dirty="0">
                <a:latin typeface="+mn-lt"/>
              </a:rPr>
              <a:t>Bird &amp; Bird is an international legal practice comprising Bird &amp; Bird LLP and its affiliated and associated businesses.</a:t>
            </a:r>
          </a:p>
          <a:p>
            <a:pPr marR="0" lvl="2" algn="l" rtl="0">
              <a:lnSpc>
                <a:spcPct val="95000"/>
              </a:lnSpc>
              <a:spcBef>
                <a:spcPts val="300"/>
              </a:spcBef>
            </a:pPr>
            <a:r>
              <a:rPr lang="en-GB" sz="800" i="0" kern="800" spc="-10" baseline="0" dirty="0">
                <a:latin typeface="+mn-lt"/>
              </a:rPr>
              <a:t>Bird &amp; Bird LLP is a limited liability partnership, registered in England and Wales with registered number OC340318 and is authorised and regulated by the Solicitors Regulation Authority. Its registered office and principal place of business is at </a:t>
            </a:r>
            <a:br>
              <a:rPr lang="en-GB" sz="800" i="0" kern="800" spc="-10" baseline="0" dirty="0">
                <a:latin typeface="+mn-lt"/>
              </a:rPr>
            </a:br>
            <a:r>
              <a:rPr lang="en-GB" sz="800" i="0" kern="800" spc="-10" baseline="0" dirty="0">
                <a:latin typeface="+mn-lt"/>
              </a:rPr>
              <a:t>12 New Fetter Lane, London EC4A 1JP. A list of members of Bird &amp; Bird LLP and of any non-members who are designated as partners, and of their respective professional qualifications, is open to inspection at that address.</a:t>
            </a:r>
          </a:p>
        </p:txBody>
      </p:sp>
    </p:spTree>
    <p:extLst>
      <p:ext uri="{BB962C8B-B14F-4D97-AF65-F5344CB8AC3E}">
        <p14:creationId xmlns:p14="http://schemas.microsoft.com/office/powerpoint/2010/main" val="2324521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1">
    <p:bg>
      <p:bgPr>
        <a:solidFill>
          <a:schemeClr val="accent6"/>
        </a:solidFill>
        <a:effectLst/>
      </p:bgPr>
    </p:bg>
    <p:spTree>
      <p:nvGrpSpPr>
        <p:cNvPr id="1" name=""/>
        <p:cNvGrpSpPr/>
        <p:nvPr/>
      </p:nvGrpSpPr>
      <p:grpSpPr>
        <a:xfrm>
          <a:off x="0" y="0"/>
          <a:ext cx="0" cy="0"/>
          <a:chOff x="0" y="0"/>
          <a:chExt cx="0" cy="0"/>
        </a:xfrm>
      </p:grpSpPr>
      <p:sp>
        <p:nvSpPr>
          <p:cNvPr id="15" name="Company string">
            <a:extLst>
              <a:ext uri="{FF2B5EF4-FFF2-40B4-BE49-F238E27FC236}">
                <a16:creationId xmlns:a16="http://schemas.microsoft.com/office/drawing/2014/main" id="{3475BBE5-5D48-43AA-8A10-5D18E1065391}"/>
              </a:ext>
            </a:extLst>
          </p:cNvPr>
          <p:cNvSpPr txBox="1"/>
          <p:nvPr userDrawn="1"/>
        </p:nvSpPr>
        <p:spPr>
          <a:xfrm>
            <a:off x="719137" y="3915130"/>
            <a:ext cx="10753723" cy="2222147"/>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dirty="0"/>
              <a:t>twobirds.com</a:t>
            </a:r>
          </a:p>
          <a:p>
            <a:pPr lvl="1">
              <a:lnSpc>
                <a:spcPct val="100000"/>
              </a:lnSpc>
              <a:spcAft>
                <a:spcPts val="1200"/>
              </a:spcAft>
            </a:pPr>
            <a:r>
              <a:rPr lang="en-GB" sz="1200" i="1" dirty="0">
                <a:solidFill>
                  <a:schemeClr val="tx2"/>
                </a:solidFill>
              </a:rPr>
              <a:t>●</a:t>
            </a:r>
            <a:r>
              <a:rPr lang="en-GB" sz="1200" i="1" dirty="0"/>
              <a:t> Abu Dhabi </a:t>
            </a:r>
            <a:r>
              <a:rPr lang="en-GB" sz="1200" i="1" dirty="0">
                <a:solidFill>
                  <a:schemeClr val="tx2"/>
                </a:solidFill>
              </a:rPr>
              <a:t>●</a:t>
            </a:r>
            <a:r>
              <a:rPr lang="en-GB" sz="1200" i="1" dirty="0"/>
              <a:t> Amsterdam </a:t>
            </a:r>
            <a:r>
              <a:rPr lang="en-GB" sz="1200" i="1" dirty="0">
                <a:solidFill>
                  <a:schemeClr val="tx2"/>
                </a:solidFill>
              </a:rPr>
              <a:t>●</a:t>
            </a:r>
            <a:r>
              <a:rPr lang="en-GB" sz="1200" i="1" dirty="0"/>
              <a:t> Beijing </a:t>
            </a:r>
            <a:r>
              <a:rPr lang="en-GB" sz="1200" i="1" dirty="0">
                <a:solidFill>
                  <a:schemeClr val="tx2"/>
                </a:solidFill>
              </a:rPr>
              <a:t>●</a:t>
            </a:r>
            <a:r>
              <a:rPr lang="en-GB" sz="1200" i="1" dirty="0"/>
              <a:t> Bratislava </a:t>
            </a:r>
            <a:r>
              <a:rPr lang="en-GB" sz="1200" i="1" dirty="0">
                <a:solidFill>
                  <a:schemeClr val="tx2"/>
                </a:solidFill>
              </a:rPr>
              <a:t>●</a:t>
            </a:r>
            <a:r>
              <a:rPr lang="en-GB" sz="1200" i="1" dirty="0"/>
              <a:t> Brussels </a:t>
            </a:r>
            <a:r>
              <a:rPr lang="en-GB" sz="1200" i="1" dirty="0">
                <a:solidFill>
                  <a:schemeClr val="tx2"/>
                </a:solidFill>
              </a:rPr>
              <a:t>●</a:t>
            </a:r>
            <a:r>
              <a:rPr lang="en-GB" sz="1200" i="1" dirty="0"/>
              <a:t> Budapest </a:t>
            </a:r>
            <a:r>
              <a:rPr lang="en-GB" sz="1200" i="1" dirty="0">
                <a:solidFill>
                  <a:schemeClr val="tx2"/>
                </a:solidFill>
              </a:rPr>
              <a:t>●</a:t>
            </a:r>
            <a:r>
              <a:rPr lang="en-GB" sz="1200" i="1" dirty="0"/>
              <a:t> Casablanca </a:t>
            </a:r>
            <a:r>
              <a:rPr lang="en-GB" sz="1200" i="1" dirty="0">
                <a:solidFill>
                  <a:schemeClr val="tx2"/>
                </a:solidFill>
              </a:rPr>
              <a:t>●</a:t>
            </a:r>
            <a:r>
              <a:rPr lang="en-GB" sz="1200" i="1" dirty="0"/>
              <a:t> Copenhagen </a:t>
            </a:r>
            <a:r>
              <a:rPr lang="en-GB" sz="1200" i="1" dirty="0">
                <a:solidFill>
                  <a:schemeClr val="tx2"/>
                </a:solidFill>
              </a:rPr>
              <a:t>●</a:t>
            </a:r>
            <a:r>
              <a:rPr lang="en-GB" sz="1200" i="1" dirty="0"/>
              <a:t> Dubai </a:t>
            </a:r>
            <a:r>
              <a:rPr lang="en-GB" sz="1200" i="1" dirty="0">
                <a:solidFill>
                  <a:schemeClr val="tx2"/>
                </a:solidFill>
              </a:rPr>
              <a:t>●</a:t>
            </a:r>
            <a:r>
              <a:rPr lang="en-GB" sz="1200" i="1" dirty="0"/>
              <a:t> Dusseldorf </a:t>
            </a:r>
            <a:r>
              <a:rPr lang="en-GB" sz="1200" i="1" dirty="0">
                <a:solidFill>
                  <a:schemeClr val="tx2"/>
                </a:solidFill>
              </a:rPr>
              <a:t>●</a:t>
            </a:r>
            <a:r>
              <a:rPr lang="en-GB" sz="1200" i="1" dirty="0"/>
              <a:t> Frankfurt </a:t>
            </a:r>
            <a:r>
              <a:rPr lang="en-GB" sz="1200" i="1" dirty="0">
                <a:solidFill>
                  <a:schemeClr val="tx2"/>
                </a:solidFill>
              </a:rPr>
              <a:t>●</a:t>
            </a:r>
            <a:r>
              <a:rPr lang="en-GB" sz="1200" i="1" dirty="0"/>
              <a:t> The Hague </a:t>
            </a:r>
            <a:r>
              <a:rPr lang="en-GB" sz="1200" i="1" dirty="0">
                <a:solidFill>
                  <a:schemeClr val="tx2"/>
                </a:solidFill>
              </a:rPr>
              <a:t>●</a:t>
            </a:r>
            <a:r>
              <a:rPr lang="en-GB" sz="1200" i="1" dirty="0"/>
              <a:t> Hamburg </a:t>
            </a:r>
            <a:r>
              <a:rPr lang="en-GB" sz="1200" i="1" dirty="0">
                <a:solidFill>
                  <a:schemeClr val="tx2"/>
                </a:solidFill>
              </a:rPr>
              <a:t>●</a:t>
            </a:r>
            <a:r>
              <a:rPr lang="en-GB" sz="1200" i="1" dirty="0"/>
              <a:t> Helsinki </a:t>
            </a:r>
            <a:r>
              <a:rPr lang="en-GB" sz="1200" i="1" dirty="0">
                <a:solidFill>
                  <a:schemeClr val="tx2"/>
                </a:solidFill>
              </a:rPr>
              <a:t>●</a:t>
            </a:r>
            <a:r>
              <a:rPr lang="en-GB" sz="1200" i="1" dirty="0"/>
              <a:t> Hong Kong </a:t>
            </a:r>
            <a:r>
              <a:rPr lang="en-GB" sz="1200" i="1" dirty="0">
                <a:solidFill>
                  <a:schemeClr val="tx2"/>
                </a:solidFill>
              </a:rPr>
              <a:t>●</a:t>
            </a:r>
            <a:r>
              <a:rPr lang="en-GB" sz="1200" i="1" dirty="0"/>
              <a:t> London </a:t>
            </a:r>
            <a:r>
              <a:rPr lang="en-GB" sz="1200" i="1" dirty="0">
                <a:solidFill>
                  <a:schemeClr val="tx2"/>
                </a:solidFill>
              </a:rPr>
              <a:t>●</a:t>
            </a:r>
            <a:r>
              <a:rPr lang="en-GB" sz="1200" i="1" dirty="0"/>
              <a:t> Luxembourg </a:t>
            </a:r>
            <a:r>
              <a:rPr lang="en-GB" sz="1200" i="1" dirty="0">
                <a:solidFill>
                  <a:schemeClr val="tx2"/>
                </a:solidFill>
              </a:rPr>
              <a:t>●</a:t>
            </a:r>
            <a:r>
              <a:rPr lang="en-GB" sz="1200" i="1" dirty="0"/>
              <a:t> Lyon </a:t>
            </a:r>
            <a:r>
              <a:rPr lang="en-GB" sz="1200" i="1" dirty="0">
                <a:solidFill>
                  <a:schemeClr val="tx2"/>
                </a:solidFill>
              </a:rPr>
              <a:t>●</a:t>
            </a:r>
            <a:r>
              <a:rPr lang="en-GB" sz="1200" i="1" dirty="0"/>
              <a:t> Madrid </a:t>
            </a:r>
            <a:r>
              <a:rPr lang="en-GB" sz="1200" i="1" dirty="0">
                <a:solidFill>
                  <a:schemeClr val="tx2"/>
                </a:solidFill>
              </a:rPr>
              <a:t>●</a:t>
            </a:r>
            <a:r>
              <a:rPr lang="en-GB" sz="1200" i="1" dirty="0"/>
              <a:t> Milan </a:t>
            </a:r>
            <a:r>
              <a:rPr lang="en-GB" sz="1200" i="1" dirty="0">
                <a:solidFill>
                  <a:schemeClr val="tx2"/>
                </a:solidFill>
              </a:rPr>
              <a:t>●</a:t>
            </a:r>
            <a:r>
              <a:rPr lang="en-GB" sz="1200" i="1" dirty="0"/>
              <a:t> Munich </a:t>
            </a:r>
            <a:r>
              <a:rPr lang="en-GB" sz="1200" i="1" dirty="0">
                <a:solidFill>
                  <a:schemeClr val="tx2"/>
                </a:solidFill>
              </a:rPr>
              <a:t>●</a:t>
            </a:r>
            <a:r>
              <a:rPr lang="en-GB" sz="1200" i="1" dirty="0"/>
              <a:t> Paris </a:t>
            </a:r>
            <a:r>
              <a:rPr lang="en-GB" sz="1200" i="1" dirty="0">
                <a:solidFill>
                  <a:schemeClr val="tx2"/>
                </a:solidFill>
              </a:rPr>
              <a:t>●</a:t>
            </a:r>
            <a:r>
              <a:rPr lang="en-GB" sz="1200" i="1" dirty="0"/>
              <a:t> Prague </a:t>
            </a:r>
            <a:r>
              <a:rPr lang="en-GB" sz="1200" i="1" dirty="0">
                <a:solidFill>
                  <a:schemeClr val="tx2"/>
                </a:solidFill>
              </a:rPr>
              <a:t>●</a:t>
            </a:r>
            <a:r>
              <a:rPr lang="en-GB" sz="1200" i="1" dirty="0"/>
              <a:t> Rome </a:t>
            </a:r>
            <a:r>
              <a:rPr lang="en-GB" sz="1200" i="1" dirty="0">
                <a:solidFill>
                  <a:schemeClr val="tx2"/>
                </a:solidFill>
              </a:rPr>
              <a:t>●</a:t>
            </a:r>
            <a:r>
              <a:rPr lang="en-GB" sz="1200" i="1" dirty="0"/>
              <a:t> San Francisco </a:t>
            </a:r>
            <a:r>
              <a:rPr lang="en-GB" sz="1200" i="1" dirty="0">
                <a:solidFill>
                  <a:schemeClr val="tx2"/>
                </a:solidFill>
              </a:rPr>
              <a:t>●</a:t>
            </a:r>
            <a:r>
              <a:rPr lang="en-GB" sz="1200" i="1" dirty="0"/>
              <a:t> Shanghai </a:t>
            </a:r>
            <a:r>
              <a:rPr lang="en-GB" sz="1200" i="1" dirty="0">
                <a:solidFill>
                  <a:schemeClr val="tx2"/>
                </a:solidFill>
              </a:rPr>
              <a:t>●</a:t>
            </a:r>
            <a:r>
              <a:rPr lang="en-GB" sz="1200" i="1" dirty="0"/>
              <a:t> Singapore </a:t>
            </a:r>
            <a:r>
              <a:rPr lang="en-GB" sz="1200" i="1" dirty="0">
                <a:solidFill>
                  <a:schemeClr val="tx2"/>
                </a:solidFill>
              </a:rPr>
              <a:t>●</a:t>
            </a:r>
            <a:r>
              <a:rPr lang="en-GB" sz="1200" i="1" dirty="0"/>
              <a:t> Stockholm </a:t>
            </a:r>
            <a:r>
              <a:rPr lang="en-GB" sz="1200" i="1" dirty="0">
                <a:solidFill>
                  <a:schemeClr val="tx2"/>
                </a:solidFill>
              </a:rPr>
              <a:t>●</a:t>
            </a:r>
            <a:r>
              <a:rPr lang="en-GB" sz="1200" i="1" dirty="0"/>
              <a:t> Sydney </a:t>
            </a:r>
            <a:r>
              <a:rPr lang="en-GB" sz="1200" i="1" dirty="0">
                <a:solidFill>
                  <a:schemeClr val="tx2"/>
                </a:solidFill>
              </a:rPr>
              <a:t>●</a:t>
            </a:r>
            <a:r>
              <a:rPr lang="en-GB" sz="1200" i="1" dirty="0"/>
              <a:t> Warsaw</a:t>
            </a:r>
          </a:p>
          <a:p>
            <a:pPr marR="0" lvl="2" algn="l" rtl="0">
              <a:lnSpc>
                <a:spcPct val="95000"/>
              </a:lnSpc>
              <a:spcBef>
                <a:spcPts val="300"/>
              </a:spcBef>
            </a:pPr>
            <a:r>
              <a:rPr lang="en-GB" sz="800" i="0" kern="800" spc="-10" baseline="0" dirty="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marR="0" lvl="2" algn="l" rtl="0">
              <a:lnSpc>
                <a:spcPct val="95000"/>
              </a:lnSpc>
              <a:spcBef>
                <a:spcPts val="300"/>
              </a:spcBef>
            </a:pPr>
            <a:r>
              <a:rPr lang="en-GB" sz="800" i="0" kern="800" spc="-10" baseline="0" dirty="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marR="0" lvl="2" algn="l" rtl="0">
              <a:lnSpc>
                <a:spcPct val="95000"/>
              </a:lnSpc>
              <a:spcBef>
                <a:spcPts val="300"/>
              </a:spcBef>
            </a:pPr>
            <a:r>
              <a:rPr lang="en-GB" sz="800" i="0" kern="800" spc="-10" baseline="0" dirty="0">
                <a:latin typeface="+mn-lt"/>
              </a:rPr>
              <a:t>Bird &amp; Bird is an international legal practice comprising Bird &amp; Bird LLP and its affiliated and associated businesses.</a:t>
            </a:r>
          </a:p>
          <a:p>
            <a:pPr marR="0" lvl="2" algn="l" rtl="0">
              <a:lnSpc>
                <a:spcPct val="95000"/>
              </a:lnSpc>
              <a:spcBef>
                <a:spcPts val="300"/>
              </a:spcBef>
            </a:pPr>
            <a:r>
              <a:rPr lang="en-GB" sz="800" i="0" kern="800" spc="-10" baseline="0" dirty="0">
                <a:latin typeface="+mn-lt"/>
              </a:rPr>
              <a:t>Bird &amp; Bird LLP is a limited liability partnership, registered in England and Wales with registered number OC340318 and is authorised and regulated by the Solicitors Regulation Authority. Its registered office and principal place of business is at </a:t>
            </a:r>
            <a:br>
              <a:rPr lang="en-GB" sz="800" i="0" kern="800" spc="-10" baseline="0" dirty="0">
                <a:latin typeface="+mn-lt"/>
              </a:rPr>
            </a:br>
            <a:r>
              <a:rPr lang="en-GB" sz="800" i="0" kern="800" spc="-10" baseline="0" dirty="0">
                <a:latin typeface="+mn-lt"/>
              </a:rPr>
              <a:t>12 New Fetter Lane, London EC4A 1JP. A list of members of Bird &amp; Bird LLP and of any non-members who are designated as partners, and of their respective professional qualifications, is open to inspection at that address.</a:t>
            </a:r>
          </a:p>
        </p:txBody>
      </p:sp>
    </p:spTree>
    <p:extLst>
      <p:ext uri="{BB962C8B-B14F-4D97-AF65-F5344CB8AC3E}">
        <p14:creationId xmlns:p14="http://schemas.microsoft.com/office/powerpoint/2010/main" val="17100270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04FC684B-9B4A-4FDA-AD5A-E5DA3CF560DD}"/>
              </a:ext>
            </a:extLst>
          </p:cNvPr>
          <p:cNvGrpSpPr/>
          <p:nvPr userDrawn="1"/>
        </p:nvGrpSpPr>
        <p:grpSpPr>
          <a:xfrm>
            <a:off x="-1143" y="3151164"/>
            <a:ext cx="6006773" cy="266725"/>
            <a:chOff x="-1143" y="3151164"/>
            <a:chExt cx="6006773" cy="266725"/>
          </a:xfrm>
        </p:grpSpPr>
        <p:sp>
          <p:nvSpPr>
            <p:cNvPr id="7" name="Freeform: Shape 6">
              <a:extLst>
                <a:ext uri="{FF2B5EF4-FFF2-40B4-BE49-F238E27FC236}">
                  <a16:creationId xmlns:a16="http://schemas.microsoft.com/office/drawing/2014/main" id="{5D4031D4-7972-416B-9488-E5FD790CDC76}"/>
                </a:ext>
              </a:extLst>
            </p:cNvPr>
            <p:cNvSpPr/>
            <p:nvPr/>
          </p:nvSpPr>
          <p:spPr>
            <a:xfrm>
              <a:off x="2199846" y="3151164"/>
              <a:ext cx="3805784" cy="266725"/>
            </a:xfrm>
            <a:custGeom>
              <a:avLst/>
              <a:gdLst>
                <a:gd name="connsiteX0" fmla="*/ 3672422 w 3805784"/>
                <a:gd name="connsiteY0" fmla="*/ 266725 h 266725"/>
                <a:gd name="connsiteX1" fmla="*/ 133363 w 3805784"/>
                <a:gd name="connsiteY1" fmla="*/ 266725 h 266725"/>
                <a:gd name="connsiteX2" fmla="*/ 0 w 3805784"/>
                <a:gd name="connsiteY2" fmla="*/ 133363 h 266725"/>
                <a:gd name="connsiteX3" fmla="*/ 133363 w 3805784"/>
                <a:gd name="connsiteY3" fmla="*/ 0 h 266725"/>
                <a:gd name="connsiteX4" fmla="*/ 3672422 w 3805784"/>
                <a:gd name="connsiteY4" fmla="*/ 0 h 266725"/>
                <a:gd name="connsiteX5" fmla="*/ 3805785 w 3805784"/>
                <a:gd name="connsiteY5" fmla="*/ 133363 h 266725"/>
                <a:gd name="connsiteX6" fmla="*/ 3672422 w 3805784"/>
                <a:gd name="connsiteY6" fmla="*/ 266725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784" h="266725">
                  <a:moveTo>
                    <a:pt x="3672422" y="266725"/>
                  </a:moveTo>
                  <a:lnTo>
                    <a:pt x="133363" y="266725"/>
                  </a:lnTo>
                  <a:cubicBezTo>
                    <a:pt x="59708" y="266725"/>
                    <a:pt x="0" y="207016"/>
                    <a:pt x="0" y="133363"/>
                  </a:cubicBezTo>
                  <a:cubicBezTo>
                    <a:pt x="0" y="59708"/>
                    <a:pt x="59708" y="0"/>
                    <a:pt x="133363" y="0"/>
                  </a:cubicBezTo>
                  <a:lnTo>
                    <a:pt x="3672422" y="0"/>
                  </a:lnTo>
                  <a:cubicBezTo>
                    <a:pt x="3746076" y="0"/>
                    <a:pt x="3805785" y="59708"/>
                    <a:pt x="3805785" y="133363"/>
                  </a:cubicBezTo>
                  <a:cubicBezTo>
                    <a:pt x="3805785" y="207016"/>
                    <a:pt x="3746076" y="266725"/>
                    <a:pt x="3672422" y="266725"/>
                  </a:cubicBezTo>
                  <a:close/>
                </a:path>
              </a:pathLst>
            </a:custGeom>
            <a:solidFill>
              <a:schemeClr val="tx2"/>
            </a:solid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D659ED3-A38A-4C5E-9EA9-5359317A1A2D}"/>
                </a:ext>
              </a:extLst>
            </p:cNvPr>
            <p:cNvSpPr/>
            <p:nvPr/>
          </p:nvSpPr>
          <p:spPr>
            <a:xfrm>
              <a:off x="-1143" y="3151164"/>
              <a:ext cx="3273859" cy="266725"/>
            </a:xfrm>
            <a:custGeom>
              <a:avLst/>
              <a:gdLst>
                <a:gd name="connsiteX0" fmla="*/ 3273859 w 3273859"/>
                <a:gd name="connsiteY0" fmla="*/ 133363 h 266725"/>
                <a:gd name="connsiteX1" fmla="*/ 3140497 w 3273859"/>
                <a:gd name="connsiteY1" fmla="*/ 0 h 266725"/>
                <a:gd name="connsiteX2" fmla="*/ 0 w 3273859"/>
                <a:gd name="connsiteY2" fmla="*/ 0 h 266725"/>
                <a:gd name="connsiteX3" fmla="*/ 0 w 3273859"/>
                <a:gd name="connsiteY3" fmla="*/ 266725 h 266725"/>
                <a:gd name="connsiteX4" fmla="*/ 3140496 w 3273859"/>
                <a:gd name="connsiteY4" fmla="*/ 266725 h 266725"/>
                <a:gd name="connsiteX5" fmla="*/ 3273859 w 3273859"/>
                <a:gd name="connsiteY5" fmla="*/ 133363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859" h="266725">
                  <a:moveTo>
                    <a:pt x="3273859" y="133363"/>
                  </a:moveTo>
                  <a:cubicBezTo>
                    <a:pt x="3273859" y="59708"/>
                    <a:pt x="3214151" y="0"/>
                    <a:pt x="3140497" y="0"/>
                  </a:cubicBezTo>
                  <a:lnTo>
                    <a:pt x="0" y="0"/>
                  </a:lnTo>
                  <a:lnTo>
                    <a:pt x="0" y="266725"/>
                  </a:lnTo>
                  <a:lnTo>
                    <a:pt x="3140496" y="266725"/>
                  </a:lnTo>
                  <a:cubicBezTo>
                    <a:pt x="3214151" y="266725"/>
                    <a:pt x="3273859" y="207016"/>
                    <a:pt x="3273859" y="133363"/>
                  </a:cubicBezTo>
                  <a:close/>
                </a:path>
              </a:pathLst>
            </a:custGeom>
            <a:solidFill>
              <a:srgbClr val="85ABE3"/>
            </a:solidFill>
            <a:ln w="12700" cap="flat">
              <a:noFill/>
              <a:prstDash val="solid"/>
              <a:miter/>
            </a:ln>
          </p:spPr>
          <p:txBody>
            <a:bodyPr rtlCol="0" anchor="ctr"/>
            <a:lstStyle/>
            <a:p>
              <a:endParaRPr lang="en-GB"/>
            </a:p>
          </p:txBody>
        </p:sp>
      </p:grpSp>
      <p:sp>
        <p:nvSpPr>
          <p:cNvPr id="25" name="Company string">
            <a:extLst>
              <a:ext uri="{FF2B5EF4-FFF2-40B4-BE49-F238E27FC236}">
                <a16:creationId xmlns:a16="http://schemas.microsoft.com/office/drawing/2014/main" id="{74AE327E-BE78-44B5-802A-9526B798AEA9}"/>
              </a:ext>
            </a:extLst>
          </p:cNvPr>
          <p:cNvSpPr txBox="1"/>
          <p:nvPr userDrawn="1"/>
        </p:nvSpPr>
        <p:spPr>
          <a:xfrm>
            <a:off x="719137" y="3915130"/>
            <a:ext cx="10753723" cy="2222147"/>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dirty="0"/>
              <a:t>twobirds.com</a:t>
            </a:r>
          </a:p>
          <a:p>
            <a:pPr lvl="1">
              <a:lnSpc>
                <a:spcPct val="100000"/>
              </a:lnSpc>
              <a:spcAft>
                <a:spcPts val="1200"/>
              </a:spcAft>
            </a:pPr>
            <a:r>
              <a:rPr lang="en-GB" sz="1200" i="1" dirty="0">
                <a:solidFill>
                  <a:schemeClr val="tx2"/>
                </a:solidFill>
              </a:rPr>
              <a:t>●</a:t>
            </a:r>
            <a:r>
              <a:rPr lang="en-GB" sz="1200" i="1" dirty="0"/>
              <a:t> Abu Dhabi </a:t>
            </a:r>
            <a:r>
              <a:rPr lang="en-GB" sz="1200" i="1" dirty="0">
                <a:solidFill>
                  <a:schemeClr val="tx2"/>
                </a:solidFill>
              </a:rPr>
              <a:t>●</a:t>
            </a:r>
            <a:r>
              <a:rPr lang="en-GB" sz="1200" i="1" dirty="0"/>
              <a:t> Amsterdam </a:t>
            </a:r>
            <a:r>
              <a:rPr lang="en-GB" sz="1200" i="1" dirty="0">
                <a:solidFill>
                  <a:schemeClr val="tx2"/>
                </a:solidFill>
              </a:rPr>
              <a:t>●</a:t>
            </a:r>
            <a:r>
              <a:rPr lang="en-GB" sz="1200" i="1" dirty="0"/>
              <a:t> Beijing </a:t>
            </a:r>
            <a:r>
              <a:rPr lang="en-GB" sz="1200" i="1" dirty="0">
                <a:solidFill>
                  <a:schemeClr val="tx2"/>
                </a:solidFill>
              </a:rPr>
              <a:t>●</a:t>
            </a:r>
            <a:r>
              <a:rPr lang="en-GB" sz="1200" i="1" dirty="0"/>
              <a:t> Bratislava </a:t>
            </a:r>
            <a:r>
              <a:rPr lang="en-GB" sz="1200" i="1" dirty="0">
                <a:solidFill>
                  <a:schemeClr val="tx2"/>
                </a:solidFill>
              </a:rPr>
              <a:t>●</a:t>
            </a:r>
            <a:r>
              <a:rPr lang="en-GB" sz="1200" i="1" dirty="0"/>
              <a:t> Brussels </a:t>
            </a:r>
            <a:r>
              <a:rPr lang="en-GB" sz="1200" i="1" dirty="0">
                <a:solidFill>
                  <a:schemeClr val="tx2"/>
                </a:solidFill>
              </a:rPr>
              <a:t>●</a:t>
            </a:r>
            <a:r>
              <a:rPr lang="en-GB" sz="1200" i="1" dirty="0"/>
              <a:t> Budapest </a:t>
            </a:r>
            <a:r>
              <a:rPr lang="en-GB" sz="1200" i="1" dirty="0">
                <a:solidFill>
                  <a:schemeClr val="tx2"/>
                </a:solidFill>
              </a:rPr>
              <a:t>●</a:t>
            </a:r>
            <a:r>
              <a:rPr lang="en-GB" sz="1200" i="1" dirty="0"/>
              <a:t> Casablanca </a:t>
            </a:r>
            <a:r>
              <a:rPr lang="en-GB" sz="1200" i="1" dirty="0">
                <a:solidFill>
                  <a:schemeClr val="tx2"/>
                </a:solidFill>
              </a:rPr>
              <a:t>●</a:t>
            </a:r>
            <a:r>
              <a:rPr lang="en-GB" sz="1200" i="1" dirty="0"/>
              <a:t> Copenhagen </a:t>
            </a:r>
            <a:r>
              <a:rPr lang="en-GB" sz="1200" i="1" dirty="0">
                <a:solidFill>
                  <a:schemeClr val="tx2"/>
                </a:solidFill>
              </a:rPr>
              <a:t>●</a:t>
            </a:r>
            <a:r>
              <a:rPr lang="en-GB" sz="1200" i="1" dirty="0"/>
              <a:t> Dubai </a:t>
            </a:r>
            <a:r>
              <a:rPr lang="en-GB" sz="1200" i="1" dirty="0">
                <a:solidFill>
                  <a:schemeClr val="tx2"/>
                </a:solidFill>
              </a:rPr>
              <a:t>●</a:t>
            </a:r>
            <a:r>
              <a:rPr lang="en-GB" sz="1200" i="1" dirty="0"/>
              <a:t> Dusseldorf </a:t>
            </a:r>
            <a:r>
              <a:rPr lang="en-GB" sz="1200" i="1" dirty="0">
                <a:solidFill>
                  <a:schemeClr val="tx2"/>
                </a:solidFill>
              </a:rPr>
              <a:t>●</a:t>
            </a:r>
            <a:r>
              <a:rPr lang="en-GB" sz="1200" i="1" dirty="0"/>
              <a:t> Frankfurt </a:t>
            </a:r>
            <a:r>
              <a:rPr lang="en-GB" sz="1200" i="1" dirty="0">
                <a:solidFill>
                  <a:schemeClr val="tx2"/>
                </a:solidFill>
              </a:rPr>
              <a:t>●</a:t>
            </a:r>
            <a:r>
              <a:rPr lang="en-GB" sz="1200" i="1" dirty="0"/>
              <a:t> The Hague </a:t>
            </a:r>
            <a:r>
              <a:rPr lang="en-GB" sz="1200" i="1" dirty="0">
                <a:solidFill>
                  <a:schemeClr val="tx2"/>
                </a:solidFill>
              </a:rPr>
              <a:t>●</a:t>
            </a:r>
            <a:r>
              <a:rPr lang="en-GB" sz="1200" i="1" dirty="0"/>
              <a:t> Hamburg </a:t>
            </a:r>
            <a:r>
              <a:rPr lang="en-GB" sz="1200" i="1" dirty="0">
                <a:solidFill>
                  <a:schemeClr val="tx2"/>
                </a:solidFill>
              </a:rPr>
              <a:t>●</a:t>
            </a:r>
            <a:r>
              <a:rPr lang="en-GB" sz="1200" i="1" dirty="0"/>
              <a:t> Helsinki </a:t>
            </a:r>
            <a:r>
              <a:rPr lang="en-GB" sz="1200" i="1" dirty="0">
                <a:solidFill>
                  <a:schemeClr val="tx2"/>
                </a:solidFill>
              </a:rPr>
              <a:t>●</a:t>
            </a:r>
            <a:r>
              <a:rPr lang="en-GB" sz="1200" i="1" dirty="0"/>
              <a:t> Hong Kong </a:t>
            </a:r>
            <a:r>
              <a:rPr lang="en-GB" sz="1200" i="1" dirty="0">
                <a:solidFill>
                  <a:schemeClr val="tx2"/>
                </a:solidFill>
              </a:rPr>
              <a:t>●</a:t>
            </a:r>
            <a:r>
              <a:rPr lang="en-GB" sz="1200" i="1" dirty="0"/>
              <a:t> London </a:t>
            </a:r>
            <a:r>
              <a:rPr lang="en-GB" sz="1200" i="1" dirty="0">
                <a:solidFill>
                  <a:schemeClr val="tx2"/>
                </a:solidFill>
              </a:rPr>
              <a:t>●</a:t>
            </a:r>
            <a:r>
              <a:rPr lang="en-GB" sz="1200" i="1" dirty="0"/>
              <a:t> Luxembourg </a:t>
            </a:r>
            <a:r>
              <a:rPr lang="en-GB" sz="1200" i="1" dirty="0">
                <a:solidFill>
                  <a:schemeClr val="tx2"/>
                </a:solidFill>
              </a:rPr>
              <a:t>●</a:t>
            </a:r>
            <a:r>
              <a:rPr lang="en-GB" sz="1200" i="1" dirty="0"/>
              <a:t> Lyon </a:t>
            </a:r>
            <a:r>
              <a:rPr lang="en-GB" sz="1200" i="1" dirty="0">
                <a:solidFill>
                  <a:schemeClr val="tx2"/>
                </a:solidFill>
              </a:rPr>
              <a:t>●</a:t>
            </a:r>
            <a:r>
              <a:rPr lang="en-GB" sz="1200" i="1" dirty="0"/>
              <a:t> Madrid </a:t>
            </a:r>
            <a:r>
              <a:rPr lang="en-GB" sz="1200" i="1" dirty="0">
                <a:solidFill>
                  <a:schemeClr val="tx2"/>
                </a:solidFill>
              </a:rPr>
              <a:t>●</a:t>
            </a:r>
            <a:r>
              <a:rPr lang="en-GB" sz="1200" i="1" dirty="0"/>
              <a:t> Milan </a:t>
            </a:r>
            <a:r>
              <a:rPr lang="en-GB" sz="1200" i="1" dirty="0">
                <a:solidFill>
                  <a:schemeClr val="tx2"/>
                </a:solidFill>
              </a:rPr>
              <a:t>●</a:t>
            </a:r>
            <a:r>
              <a:rPr lang="en-GB" sz="1200" i="1" dirty="0"/>
              <a:t> Munich </a:t>
            </a:r>
            <a:r>
              <a:rPr lang="en-GB" sz="1200" i="1" dirty="0">
                <a:solidFill>
                  <a:schemeClr val="tx2"/>
                </a:solidFill>
              </a:rPr>
              <a:t>●</a:t>
            </a:r>
            <a:r>
              <a:rPr lang="en-GB" sz="1200" i="1" dirty="0"/>
              <a:t> Paris </a:t>
            </a:r>
            <a:r>
              <a:rPr lang="en-GB" sz="1200" i="1" dirty="0">
                <a:solidFill>
                  <a:schemeClr val="tx2"/>
                </a:solidFill>
              </a:rPr>
              <a:t>●</a:t>
            </a:r>
            <a:r>
              <a:rPr lang="en-GB" sz="1200" i="1" dirty="0"/>
              <a:t> Prague </a:t>
            </a:r>
            <a:r>
              <a:rPr lang="en-GB" sz="1200" i="1" dirty="0">
                <a:solidFill>
                  <a:schemeClr val="tx2"/>
                </a:solidFill>
              </a:rPr>
              <a:t>●</a:t>
            </a:r>
            <a:r>
              <a:rPr lang="en-GB" sz="1200" i="1" dirty="0"/>
              <a:t> Rome </a:t>
            </a:r>
            <a:r>
              <a:rPr lang="en-GB" sz="1200" i="1" dirty="0">
                <a:solidFill>
                  <a:schemeClr val="tx2"/>
                </a:solidFill>
              </a:rPr>
              <a:t>●</a:t>
            </a:r>
            <a:r>
              <a:rPr lang="en-GB" sz="1200" i="1" dirty="0"/>
              <a:t> San Francisco </a:t>
            </a:r>
            <a:r>
              <a:rPr lang="en-GB" sz="1200" i="1" dirty="0">
                <a:solidFill>
                  <a:schemeClr val="tx2"/>
                </a:solidFill>
              </a:rPr>
              <a:t>●</a:t>
            </a:r>
            <a:r>
              <a:rPr lang="en-GB" sz="1200" i="1" dirty="0"/>
              <a:t> Shanghai </a:t>
            </a:r>
            <a:r>
              <a:rPr lang="en-GB" sz="1200" i="1" dirty="0">
                <a:solidFill>
                  <a:schemeClr val="tx2"/>
                </a:solidFill>
              </a:rPr>
              <a:t>●</a:t>
            </a:r>
            <a:r>
              <a:rPr lang="en-GB" sz="1200" i="1" dirty="0"/>
              <a:t> Singapore </a:t>
            </a:r>
            <a:r>
              <a:rPr lang="en-GB" sz="1200" i="1" dirty="0">
                <a:solidFill>
                  <a:schemeClr val="tx2"/>
                </a:solidFill>
              </a:rPr>
              <a:t>●</a:t>
            </a:r>
            <a:r>
              <a:rPr lang="en-GB" sz="1200" i="1" dirty="0"/>
              <a:t> Stockholm </a:t>
            </a:r>
            <a:r>
              <a:rPr lang="en-GB" sz="1200" i="1" dirty="0">
                <a:solidFill>
                  <a:schemeClr val="tx2"/>
                </a:solidFill>
              </a:rPr>
              <a:t>●</a:t>
            </a:r>
            <a:r>
              <a:rPr lang="en-GB" sz="1200" i="1" dirty="0"/>
              <a:t> Sydney </a:t>
            </a:r>
            <a:r>
              <a:rPr lang="en-GB" sz="1200" i="1" dirty="0">
                <a:solidFill>
                  <a:schemeClr val="tx2"/>
                </a:solidFill>
              </a:rPr>
              <a:t>●</a:t>
            </a:r>
            <a:r>
              <a:rPr lang="en-GB" sz="1200" i="1" dirty="0"/>
              <a:t> Warsaw</a:t>
            </a:r>
          </a:p>
          <a:p>
            <a:pPr marR="0" lvl="2" algn="l" rtl="0">
              <a:lnSpc>
                <a:spcPct val="95000"/>
              </a:lnSpc>
              <a:spcBef>
                <a:spcPts val="300"/>
              </a:spcBef>
            </a:pPr>
            <a:r>
              <a:rPr lang="en-GB" sz="800" i="0" kern="800" spc="-10" baseline="0" dirty="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marR="0" lvl="2" algn="l" rtl="0">
              <a:lnSpc>
                <a:spcPct val="95000"/>
              </a:lnSpc>
              <a:spcBef>
                <a:spcPts val="300"/>
              </a:spcBef>
            </a:pPr>
            <a:r>
              <a:rPr lang="en-GB" sz="800" i="0" kern="800" spc="-10" baseline="0" dirty="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marR="0" lvl="2" algn="l" rtl="0">
              <a:lnSpc>
                <a:spcPct val="95000"/>
              </a:lnSpc>
              <a:spcBef>
                <a:spcPts val="300"/>
              </a:spcBef>
            </a:pPr>
            <a:r>
              <a:rPr lang="en-GB" sz="800" i="0" kern="800" spc="-10" baseline="0" dirty="0">
                <a:latin typeface="+mn-lt"/>
              </a:rPr>
              <a:t>Bird &amp; Bird is an international legal practice comprising Bird &amp; Bird LLP and its affiliated and associated businesses.</a:t>
            </a:r>
          </a:p>
          <a:p>
            <a:pPr marR="0" lvl="2" algn="l" rtl="0">
              <a:lnSpc>
                <a:spcPct val="95000"/>
              </a:lnSpc>
              <a:spcBef>
                <a:spcPts val="300"/>
              </a:spcBef>
            </a:pPr>
            <a:r>
              <a:rPr lang="en-GB" sz="800" i="0" kern="800" spc="-10" baseline="0" dirty="0">
                <a:latin typeface="+mn-lt"/>
              </a:rPr>
              <a:t>Bird &amp; Bird LLP is a limited liability partnership, registered in England and Wales with registered number OC340318 and is authorised and regulated by the Solicitors Regulation Authority. Its registered office and principal place of business is at </a:t>
            </a:r>
            <a:br>
              <a:rPr lang="en-GB" sz="800" i="0" kern="800" spc="-10" baseline="0" dirty="0">
                <a:latin typeface="+mn-lt"/>
              </a:rPr>
            </a:br>
            <a:r>
              <a:rPr lang="en-GB" sz="800" i="0" kern="800" spc="-10" baseline="0" dirty="0">
                <a:latin typeface="+mn-lt"/>
              </a:rPr>
              <a:t>12 New Fetter Lane, London EC4A 1JP. A list of members of Bird &amp; Bird LLP and of any non-members who are designated as partners, and of their respective professional qualifications, is open to inspection at that address.</a:t>
            </a:r>
          </a:p>
        </p:txBody>
      </p:sp>
    </p:spTree>
    <p:extLst>
      <p:ext uri="{BB962C8B-B14F-4D97-AF65-F5344CB8AC3E}">
        <p14:creationId xmlns:p14="http://schemas.microsoft.com/office/powerpoint/2010/main" val="309764396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915130"/>
            <a:ext cx="10753723" cy="2222147"/>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dirty="0"/>
              <a:t>twobirds.com</a:t>
            </a:r>
          </a:p>
          <a:p>
            <a:pPr lvl="1">
              <a:lnSpc>
                <a:spcPct val="100000"/>
              </a:lnSpc>
              <a:spcAft>
                <a:spcPts val="1200"/>
              </a:spcAft>
            </a:pPr>
            <a:r>
              <a:rPr lang="en-GB" sz="1200" i="1" dirty="0">
                <a:solidFill>
                  <a:schemeClr val="tx2"/>
                </a:solidFill>
              </a:rPr>
              <a:t>●</a:t>
            </a:r>
            <a:r>
              <a:rPr lang="en-GB" sz="1200" i="1" dirty="0"/>
              <a:t> Abu Dhabi </a:t>
            </a:r>
            <a:r>
              <a:rPr lang="en-GB" sz="1200" i="1" dirty="0">
                <a:solidFill>
                  <a:schemeClr val="tx2"/>
                </a:solidFill>
              </a:rPr>
              <a:t>●</a:t>
            </a:r>
            <a:r>
              <a:rPr lang="en-GB" sz="1200" i="1" dirty="0"/>
              <a:t> Amsterdam </a:t>
            </a:r>
            <a:r>
              <a:rPr lang="en-GB" sz="1200" i="1" dirty="0">
                <a:solidFill>
                  <a:schemeClr val="tx2"/>
                </a:solidFill>
              </a:rPr>
              <a:t>●</a:t>
            </a:r>
            <a:r>
              <a:rPr lang="en-GB" sz="1200" i="1" dirty="0"/>
              <a:t> Beijing </a:t>
            </a:r>
            <a:r>
              <a:rPr lang="en-GB" sz="1200" i="1" dirty="0">
                <a:solidFill>
                  <a:schemeClr val="tx2"/>
                </a:solidFill>
              </a:rPr>
              <a:t>●</a:t>
            </a:r>
            <a:r>
              <a:rPr lang="en-GB" sz="1200" i="1" dirty="0"/>
              <a:t> Bratislava </a:t>
            </a:r>
            <a:r>
              <a:rPr lang="en-GB" sz="1200" i="1" dirty="0">
                <a:solidFill>
                  <a:schemeClr val="tx2"/>
                </a:solidFill>
              </a:rPr>
              <a:t>●</a:t>
            </a:r>
            <a:r>
              <a:rPr lang="en-GB" sz="1200" i="1" dirty="0"/>
              <a:t> Brussels </a:t>
            </a:r>
            <a:r>
              <a:rPr lang="en-GB" sz="1200" i="1" dirty="0">
                <a:solidFill>
                  <a:schemeClr val="tx2"/>
                </a:solidFill>
              </a:rPr>
              <a:t>●</a:t>
            </a:r>
            <a:r>
              <a:rPr lang="en-GB" sz="1200" i="1" dirty="0"/>
              <a:t> Budapest </a:t>
            </a:r>
            <a:r>
              <a:rPr lang="en-GB" sz="1200" i="1" dirty="0">
                <a:solidFill>
                  <a:schemeClr val="tx2"/>
                </a:solidFill>
              </a:rPr>
              <a:t>●</a:t>
            </a:r>
            <a:r>
              <a:rPr lang="en-GB" sz="1200" i="1" dirty="0"/>
              <a:t> Casablanca </a:t>
            </a:r>
            <a:r>
              <a:rPr lang="en-GB" sz="1200" i="1" dirty="0">
                <a:solidFill>
                  <a:schemeClr val="tx2"/>
                </a:solidFill>
              </a:rPr>
              <a:t>●</a:t>
            </a:r>
            <a:r>
              <a:rPr lang="en-GB" sz="1200" i="1" dirty="0"/>
              <a:t> Copenhagen </a:t>
            </a:r>
            <a:r>
              <a:rPr lang="en-GB" sz="1200" i="1" dirty="0">
                <a:solidFill>
                  <a:schemeClr val="tx2"/>
                </a:solidFill>
              </a:rPr>
              <a:t>●</a:t>
            </a:r>
            <a:r>
              <a:rPr lang="en-GB" sz="1200" i="1" dirty="0"/>
              <a:t> Dubai </a:t>
            </a:r>
            <a:r>
              <a:rPr lang="en-GB" sz="1200" i="1" dirty="0">
                <a:solidFill>
                  <a:schemeClr val="tx2"/>
                </a:solidFill>
              </a:rPr>
              <a:t>●</a:t>
            </a:r>
            <a:r>
              <a:rPr lang="en-GB" sz="1200" i="1" dirty="0"/>
              <a:t> Dusseldorf </a:t>
            </a:r>
            <a:r>
              <a:rPr lang="en-GB" sz="1200" i="1" dirty="0">
                <a:solidFill>
                  <a:schemeClr val="tx2"/>
                </a:solidFill>
              </a:rPr>
              <a:t>●</a:t>
            </a:r>
            <a:r>
              <a:rPr lang="en-GB" sz="1200" i="1" dirty="0"/>
              <a:t> Frankfurt </a:t>
            </a:r>
            <a:r>
              <a:rPr lang="en-GB" sz="1200" i="1" dirty="0">
                <a:solidFill>
                  <a:schemeClr val="tx2"/>
                </a:solidFill>
              </a:rPr>
              <a:t>●</a:t>
            </a:r>
            <a:r>
              <a:rPr lang="en-GB" sz="1200" i="1" dirty="0"/>
              <a:t> The Hague </a:t>
            </a:r>
            <a:r>
              <a:rPr lang="en-GB" sz="1200" i="1" dirty="0">
                <a:solidFill>
                  <a:schemeClr val="tx2"/>
                </a:solidFill>
              </a:rPr>
              <a:t>●</a:t>
            </a:r>
            <a:r>
              <a:rPr lang="en-GB" sz="1200" i="1" dirty="0"/>
              <a:t> Hamburg </a:t>
            </a:r>
            <a:r>
              <a:rPr lang="en-GB" sz="1200" i="1" dirty="0">
                <a:solidFill>
                  <a:schemeClr val="tx2"/>
                </a:solidFill>
              </a:rPr>
              <a:t>●</a:t>
            </a:r>
            <a:r>
              <a:rPr lang="en-GB" sz="1200" i="1" dirty="0"/>
              <a:t> Helsinki </a:t>
            </a:r>
            <a:r>
              <a:rPr lang="en-GB" sz="1200" i="1" dirty="0">
                <a:solidFill>
                  <a:schemeClr val="tx2"/>
                </a:solidFill>
              </a:rPr>
              <a:t>●</a:t>
            </a:r>
            <a:r>
              <a:rPr lang="en-GB" sz="1200" i="1" dirty="0"/>
              <a:t> Hong Kong </a:t>
            </a:r>
            <a:r>
              <a:rPr lang="en-GB" sz="1200" i="1" dirty="0">
                <a:solidFill>
                  <a:schemeClr val="tx2"/>
                </a:solidFill>
              </a:rPr>
              <a:t>●</a:t>
            </a:r>
            <a:r>
              <a:rPr lang="en-GB" sz="1200" i="1" dirty="0"/>
              <a:t> London </a:t>
            </a:r>
            <a:r>
              <a:rPr lang="en-GB" sz="1200" i="1" dirty="0">
                <a:solidFill>
                  <a:schemeClr val="tx2"/>
                </a:solidFill>
              </a:rPr>
              <a:t>●</a:t>
            </a:r>
            <a:r>
              <a:rPr lang="en-GB" sz="1200" i="1" dirty="0"/>
              <a:t> Luxembourg </a:t>
            </a:r>
            <a:r>
              <a:rPr lang="en-GB" sz="1200" i="1" dirty="0">
                <a:solidFill>
                  <a:schemeClr val="tx2"/>
                </a:solidFill>
              </a:rPr>
              <a:t>●</a:t>
            </a:r>
            <a:r>
              <a:rPr lang="en-GB" sz="1200" i="1" dirty="0"/>
              <a:t> Lyon </a:t>
            </a:r>
            <a:r>
              <a:rPr lang="en-GB" sz="1200" i="1" dirty="0">
                <a:solidFill>
                  <a:schemeClr val="tx2"/>
                </a:solidFill>
              </a:rPr>
              <a:t>●</a:t>
            </a:r>
            <a:r>
              <a:rPr lang="en-GB" sz="1200" i="1" dirty="0"/>
              <a:t> Madrid </a:t>
            </a:r>
            <a:r>
              <a:rPr lang="en-GB" sz="1200" i="1" dirty="0">
                <a:solidFill>
                  <a:schemeClr val="tx2"/>
                </a:solidFill>
              </a:rPr>
              <a:t>●</a:t>
            </a:r>
            <a:r>
              <a:rPr lang="en-GB" sz="1200" i="1" dirty="0"/>
              <a:t> Milan </a:t>
            </a:r>
            <a:r>
              <a:rPr lang="en-GB" sz="1200" i="1" dirty="0">
                <a:solidFill>
                  <a:schemeClr val="tx2"/>
                </a:solidFill>
              </a:rPr>
              <a:t>●</a:t>
            </a:r>
            <a:r>
              <a:rPr lang="en-GB" sz="1200" i="1" dirty="0"/>
              <a:t> Munich </a:t>
            </a:r>
            <a:r>
              <a:rPr lang="en-GB" sz="1200" i="1" dirty="0">
                <a:solidFill>
                  <a:schemeClr val="tx2"/>
                </a:solidFill>
              </a:rPr>
              <a:t>●</a:t>
            </a:r>
            <a:r>
              <a:rPr lang="en-GB" sz="1200" i="1" dirty="0"/>
              <a:t> Paris </a:t>
            </a:r>
            <a:r>
              <a:rPr lang="en-GB" sz="1200" i="1" dirty="0">
                <a:solidFill>
                  <a:schemeClr val="tx2"/>
                </a:solidFill>
              </a:rPr>
              <a:t>●</a:t>
            </a:r>
            <a:r>
              <a:rPr lang="en-GB" sz="1200" i="1" dirty="0"/>
              <a:t> Prague </a:t>
            </a:r>
            <a:r>
              <a:rPr lang="en-GB" sz="1200" i="1" dirty="0">
                <a:solidFill>
                  <a:schemeClr val="tx2"/>
                </a:solidFill>
              </a:rPr>
              <a:t>●</a:t>
            </a:r>
            <a:r>
              <a:rPr lang="en-GB" sz="1200" i="1" dirty="0"/>
              <a:t> Rome </a:t>
            </a:r>
            <a:r>
              <a:rPr lang="en-GB" sz="1200" i="1" dirty="0">
                <a:solidFill>
                  <a:schemeClr val="tx2"/>
                </a:solidFill>
              </a:rPr>
              <a:t>●</a:t>
            </a:r>
            <a:r>
              <a:rPr lang="en-GB" sz="1200" i="1" dirty="0"/>
              <a:t> San Francisco </a:t>
            </a:r>
            <a:r>
              <a:rPr lang="en-GB" sz="1200" i="1" dirty="0">
                <a:solidFill>
                  <a:schemeClr val="tx2"/>
                </a:solidFill>
              </a:rPr>
              <a:t>●</a:t>
            </a:r>
            <a:r>
              <a:rPr lang="en-GB" sz="1200" i="1" dirty="0"/>
              <a:t> Shanghai </a:t>
            </a:r>
            <a:r>
              <a:rPr lang="en-GB" sz="1200" i="1" dirty="0">
                <a:solidFill>
                  <a:schemeClr val="tx2"/>
                </a:solidFill>
              </a:rPr>
              <a:t>●</a:t>
            </a:r>
            <a:r>
              <a:rPr lang="en-GB" sz="1200" i="1" dirty="0"/>
              <a:t> Singapore </a:t>
            </a:r>
            <a:r>
              <a:rPr lang="en-GB" sz="1200" i="1" dirty="0">
                <a:solidFill>
                  <a:schemeClr val="tx2"/>
                </a:solidFill>
              </a:rPr>
              <a:t>●</a:t>
            </a:r>
            <a:r>
              <a:rPr lang="en-GB" sz="1200" i="1" dirty="0"/>
              <a:t> Stockholm </a:t>
            </a:r>
            <a:r>
              <a:rPr lang="en-GB" sz="1200" i="1" dirty="0">
                <a:solidFill>
                  <a:schemeClr val="tx2"/>
                </a:solidFill>
              </a:rPr>
              <a:t>●</a:t>
            </a:r>
            <a:r>
              <a:rPr lang="en-GB" sz="1200" i="1" dirty="0"/>
              <a:t> Sydney </a:t>
            </a:r>
            <a:r>
              <a:rPr lang="en-GB" sz="1200" i="1" dirty="0">
                <a:solidFill>
                  <a:schemeClr val="tx2"/>
                </a:solidFill>
              </a:rPr>
              <a:t>●</a:t>
            </a:r>
            <a:r>
              <a:rPr lang="en-GB" sz="1200" i="1" dirty="0"/>
              <a:t> Warsaw</a:t>
            </a:r>
          </a:p>
          <a:p>
            <a:pPr marR="0" lvl="2" algn="l" rtl="0">
              <a:lnSpc>
                <a:spcPct val="95000"/>
              </a:lnSpc>
              <a:spcBef>
                <a:spcPts val="300"/>
              </a:spcBef>
            </a:pPr>
            <a:r>
              <a:rPr lang="en-GB" sz="800" i="0" kern="800" spc="-10" baseline="0" dirty="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marR="0" lvl="2" algn="l" rtl="0">
              <a:lnSpc>
                <a:spcPct val="95000"/>
              </a:lnSpc>
              <a:spcBef>
                <a:spcPts val="300"/>
              </a:spcBef>
            </a:pPr>
            <a:r>
              <a:rPr lang="en-GB" sz="800" i="0" kern="800" spc="-10" baseline="0" dirty="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marR="0" lvl="2" algn="l" rtl="0">
              <a:lnSpc>
                <a:spcPct val="95000"/>
              </a:lnSpc>
              <a:spcBef>
                <a:spcPts val="300"/>
              </a:spcBef>
            </a:pPr>
            <a:r>
              <a:rPr lang="en-GB" sz="800" i="0" kern="800" spc="-10" baseline="0" dirty="0">
                <a:latin typeface="+mn-lt"/>
              </a:rPr>
              <a:t>Bird &amp; Bird is an international legal practice comprising Bird &amp; Bird LLP and its affiliated and associated businesses.</a:t>
            </a:r>
          </a:p>
          <a:p>
            <a:pPr marR="0" lvl="2" algn="l" rtl="0">
              <a:lnSpc>
                <a:spcPct val="95000"/>
              </a:lnSpc>
              <a:spcBef>
                <a:spcPts val="300"/>
              </a:spcBef>
            </a:pPr>
            <a:r>
              <a:rPr lang="en-GB" sz="800" i="0" kern="800" spc="-10" baseline="0" dirty="0">
                <a:latin typeface="+mn-lt"/>
              </a:rPr>
              <a:t>Bird &amp; Bird LLP is a limited liability partnership, registered in England and Wales with registered number OC340318 and is authorised and regulated by the Solicitors Regulation Authority. Its registered office and principal place of business is at </a:t>
            </a:r>
            <a:br>
              <a:rPr lang="en-GB" sz="800" i="0" kern="800" spc="-10" baseline="0" dirty="0">
                <a:latin typeface="+mn-lt"/>
              </a:rPr>
            </a:br>
            <a:r>
              <a:rPr lang="en-GB" sz="800" i="0" kern="800" spc="-10" baseline="0" dirty="0">
                <a:latin typeface="+mn-lt"/>
              </a:rPr>
              <a:t>12 New Fetter Lane, London EC4A 1JP. A list of members of Bird &amp; Bird LLP and of any non-members who are designated as partners, and of their respective professional qualifications, is open to inspection at that address.</a:t>
            </a:r>
          </a:p>
        </p:txBody>
      </p:sp>
    </p:spTree>
    <p:extLst>
      <p:ext uri="{BB962C8B-B14F-4D97-AF65-F5344CB8AC3E}">
        <p14:creationId xmlns:p14="http://schemas.microsoft.com/office/powerpoint/2010/main" val="1338733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3">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0541455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Slide Number Placeholder">
            <a:extLst>
              <a:ext uri="{FF2B5EF4-FFF2-40B4-BE49-F238E27FC236}">
                <a16:creationId xmlns:a16="http://schemas.microsoft.com/office/drawing/2014/main" id="{1C49C285-C105-4FFD-9C75-9A362E5F34A3}"/>
              </a:ext>
            </a:extLst>
          </p:cNvPr>
          <p:cNvSpPr txBox="1">
            <a:spLocks/>
          </p:cNvSpPr>
          <p:nvPr userDrawn="1"/>
        </p:nvSpPr>
        <p:spPr>
          <a:xfrm>
            <a:off x="11289506" y="6393422"/>
            <a:ext cx="181768" cy="144000"/>
          </a:xfrm>
          <a:prstGeom prst="rect">
            <a:avLst/>
          </a:prstGeom>
        </p:spPr>
        <p:txBody>
          <a:bodyPr vert="horz" lIns="0" tIns="0" rIns="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B7058B-B665-4C1F-9B33-FA7AD15A3078}" type="slidenum">
              <a:rPr lang="en-GB" noProof="0" smtClean="0"/>
              <a:pPr/>
              <a:t>‹#›</a:t>
            </a:fld>
            <a:endParaRPr lang="en-GB" noProof="0" dirty="0"/>
          </a:p>
        </p:txBody>
      </p:sp>
      <p:sp>
        <p:nvSpPr>
          <p:cNvPr id="4" name="Date Placeholder">
            <a:extLst>
              <a:ext uri="{FF2B5EF4-FFF2-40B4-BE49-F238E27FC236}">
                <a16:creationId xmlns:a16="http://schemas.microsoft.com/office/drawing/2014/main" id="{8EFB5881-0197-4292-B7AB-7D22BE2B1F9B}"/>
              </a:ext>
            </a:extLst>
          </p:cNvPr>
          <p:cNvSpPr>
            <a:spLocks noGrp="1"/>
          </p:cNvSpPr>
          <p:nvPr>
            <p:ph type="dt" sz="half" idx="2"/>
          </p:nvPr>
        </p:nvSpPr>
        <p:spPr>
          <a:xfrm>
            <a:off x="1630362" y="6393422"/>
            <a:ext cx="2224738" cy="144000"/>
          </a:xfrm>
          <a:prstGeom prst="rect">
            <a:avLst/>
          </a:prstGeom>
        </p:spPr>
        <p:txBody>
          <a:bodyPr vert="horz" lIns="72000" tIns="0" rIns="0" bIns="0" rtlCol="0" anchor="b" anchorCtr="0">
            <a:noAutofit/>
          </a:bodyPr>
          <a:lstStyle>
            <a:lvl1pPr algn="l">
              <a:defRPr sz="800">
                <a:solidFill>
                  <a:schemeClr val="tx1"/>
                </a:solidFill>
              </a:defRPr>
            </a:lvl1pPr>
          </a:lstStyle>
          <a:p>
            <a:r>
              <a:rPr lang="en-US" noProof="0"/>
              <a:t>dd Month 2021</a:t>
            </a:r>
            <a:endParaRPr lang="en-GB" noProof="0" dirty="0"/>
          </a:p>
        </p:txBody>
      </p:sp>
      <p:sp>
        <p:nvSpPr>
          <p:cNvPr id="5" name="Footer Placeholder 1">
            <a:extLst>
              <a:ext uri="{FF2B5EF4-FFF2-40B4-BE49-F238E27FC236}">
                <a16:creationId xmlns:a16="http://schemas.microsoft.com/office/drawing/2014/main" id="{A024470D-7D94-4E25-BC6C-217B27B5B0A5}"/>
              </a:ext>
            </a:extLst>
          </p:cNvPr>
          <p:cNvSpPr>
            <a:spLocks noGrp="1"/>
          </p:cNvSpPr>
          <p:nvPr>
            <p:ph type="ftr" sz="quarter" idx="3"/>
          </p:nvPr>
        </p:nvSpPr>
        <p:spPr>
          <a:xfrm>
            <a:off x="7096125" y="6393422"/>
            <a:ext cx="4058158" cy="144000"/>
          </a:xfrm>
          <a:prstGeom prst="rect">
            <a:avLst/>
          </a:prstGeom>
        </p:spPr>
        <p:txBody>
          <a:bodyPr vert="horz" lIns="0" tIns="0" rIns="72000" bIns="0" rtlCol="0" anchor="b" anchorCtr="0">
            <a:noAutofit/>
          </a:bodyPr>
          <a:lstStyle>
            <a:lvl1pPr algn="r">
              <a:defRPr sz="800">
                <a:solidFill>
                  <a:schemeClr val="tx1"/>
                </a:solidFill>
              </a:defRPr>
            </a:lvl1pPr>
          </a:lstStyle>
          <a:p>
            <a:r>
              <a:rPr lang="en-GB" noProof="0" dirty="0"/>
              <a:t>Update Footer to add the Document title</a:t>
            </a:r>
          </a:p>
        </p:txBody>
      </p:sp>
      <p:sp>
        <p:nvSpPr>
          <p:cNvPr id="3" name="Text Placeholder 1">
            <a:extLst>
              <a:ext uri="{FF2B5EF4-FFF2-40B4-BE49-F238E27FC236}">
                <a16:creationId xmlns:a16="http://schemas.microsoft.com/office/drawing/2014/main" id="{2D2F7A1F-6C14-4434-84D4-61DE706A4AD2}"/>
              </a:ext>
            </a:extLst>
          </p:cNvPr>
          <p:cNvSpPr>
            <a:spLocks noGrp="1"/>
          </p:cNvSpPr>
          <p:nvPr>
            <p:ph type="body" idx="1"/>
          </p:nvPr>
        </p:nvSpPr>
        <p:spPr>
          <a:xfrm>
            <a:off x="719137" y="2130804"/>
            <a:ext cx="10752137" cy="4008058"/>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 – Bullet 1</a:t>
            </a:r>
          </a:p>
          <a:p>
            <a:pPr lvl="2"/>
            <a:r>
              <a:rPr lang="en-GB" noProof="0" dirty="0"/>
              <a:t>Third level – Bullet 2</a:t>
            </a:r>
          </a:p>
          <a:p>
            <a:pPr lvl="3"/>
            <a:r>
              <a:rPr lang="en-GB" noProof="0" dirty="0"/>
              <a:t>Fourth level – Bullet 3</a:t>
            </a:r>
          </a:p>
          <a:p>
            <a:pPr lvl="4"/>
            <a:r>
              <a:rPr lang="en-GB" noProof="0" dirty="0"/>
              <a:t>Fifth level – Number 1</a:t>
            </a:r>
          </a:p>
          <a:p>
            <a:pPr lvl="5"/>
            <a:r>
              <a:rPr lang="en-GB" noProof="0" dirty="0"/>
              <a:t>Sixth level – Number 2</a:t>
            </a:r>
          </a:p>
          <a:p>
            <a:pPr lvl="6"/>
            <a:r>
              <a:rPr lang="en-GB" noProof="0" dirty="0"/>
              <a:t>Seventh level – Heading 1</a:t>
            </a:r>
          </a:p>
          <a:p>
            <a:pPr lvl="7"/>
            <a:r>
              <a:rPr lang="en-GB" noProof="0" dirty="0"/>
              <a:t>Eighth level – Heading 2</a:t>
            </a:r>
          </a:p>
          <a:p>
            <a:pPr lvl="8"/>
            <a:r>
              <a:rPr lang="en-GB" noProof="0" dirty="0"/>
              <a:t>Ninth level – Pull-out</a:t>
            </a:r>
          </a:p>
        </p:txBody>
      </p:sp>
      <p:sp>
        <p:nvSpPr>
          <p:cNvPr id="2" name="Title Placeholder 1">
            <a:extLst>
              <a:ext uri="{FF2B5EF4-FFF2-40B4-BE49-F238E27FC236}">
                <a16:creationId xmlns:a16="http://schemas.microsoft.com/office/drawing/2014/main" id="{AB0A03BB-1213-4335-8CC5-02AB3105793C}"/>
              </a:ext>
            </a:extLst>
          </p:cNvPr>
          <p:cNvSpPr>
            <a:spLocks noGrp="1"/>
          </p:cNvSpPr>
          <p:nvPr>
            <p:ph type="title"/>
          </p:nvPr>
        </p:nvSpPr>
        <p:spPr>
          <a:xfrm>
            <a:off x="719137" y="666745"/>
            <a:ext cx="10752137" cy="720000"/>
          </a:xfrm>
          <a:prstGeom prst="rect">
            <a:avLst/>
          </a:prstGeom>
        </p:spPr>
        <p:txBody>
          <a:bodyPr vert="horz" lIns="0" tIns="0" rIns="0" bIns="0" rtlCol="0" anchor="t" anchorCtr="0">
            <a:noAutofit/>
          </a:bodyPr>
          <a:lstStyle/>
          <a:p>
            <a:pPr lvl="0"/>
            <a:r>
              <a:rPr lang="en-US" noProof="0"/>
              <a:t>Click to edit Master title style</a:t>
            </a:r>
            <a:endParaRPr lang="en-GB" noProof="0" dirty="0"/>
          </a:p>
        </p:txBody>
      </p:sp>
      <p:sp>
        <p:nvSpPr>
          <p:cNvPr id="12" name="Copyright">
            <a:extLst>
              <a:ext uri="{FF2B5EF4-FFF2-40B4-BE49-F238E27FC236}">
                <a16:creationId xmlns:a16="http://schemas.microsoft.com/office/drawing/2014/main" id="{ECEF6E54-EE16-41B0-871A-0B50552DFDF7}"/>
              </a:ext>
            </a:extLst>
          </p:cNvPr>
          <p:cNvSpPr txBox="1">
            <a:spLocks/>
          </p:cNvSpPr>
          <p:nvPr userDrawn="1"/>
        </p:nvSpPr>
        <p:spPr>
          <a:xfrm>
            <a:off x="719137" y="6393422"/>
            <a:ext cx="1105555" cy="144000"/>
          </a:xfrm>
          <a:prstGeom prst="rect">
            <a:avLst/>
          </a:prstGeom>
        </p:spPr>
        <p:txBody>
          <a:bodyPr vert="horz" wrap="none" lIns="0" tIns="0" rIns="3600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noProof="0" dirty="0">
                <a:latin typeface="+mn-lt"/>
              </a:rPr>
              <a:t>© Bird &amp; Bird LLP</a:t>
            </a:r>
          </a:p>
        </p:txBody>
      </p:sp>
    </p:spTree>
    <p:extLst>
      <p:ext uri="{BB962C8B-B14F-4D97-AF65-F5344CB8AC3E}">
        <p14:creationId xmlns:p14="http://schemas.microsoft.com/office/powerpoint/2010/main" val="3911811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4" r:id="rId3"/>
    <p:sldLayoutId id="2147483662" r:id="rId4"/>
    <p:sldLayoutId id="2147483709" r:id="rId5"/>
    <p:sldLayoutId id="2147483710" r:id="rId6"/>
    <p:sldLayoutId id="2147483654" r:id="rId7"/>
    <p:sldLayoutId id="2147483712" r:id="rId8"/>
    <p:sldLayoutId id="2147483742" r:id="rId9"/>
    <p:sldLayoutId id="2147483672" r:id="rId10"/>
    <p:sldLayoutId id="2147483754" r:id="rId11"/>
    <p:sldLayoutId id="2147483755" r:id="rId12"/>
    <p:sldLayoutId id="2147483753" r:id="rId13"/>
    <p:sldLayoutId id="2147483739" r:id="rId14"/>
    <p:sldLayoutId id="2147483740" r:id="rId15"/>
    <p:sldLayoutId id="2147483741" r:id="rId16"/>
    <p:sldLayoutId id="2147483743" r:id="rId17"/>
    <p:sldLayoutId id="2147483757" r:id="rId18"/>
    <p:sldLayoutId id="2147483738" r:id="rId19"/>
    <p:sldLayoutId id="2147483707" r:id="rId20"/>
    <p:sldLayoutId id="2147483711" r:id="rId21"/>
    <p:sldLayoutId id="2147483708" r:id="rId22"/>
    <p:sldLayoutId id="2147483691" r:id="rId23"/>
    <p:sldLayoutId id="2147483694" r:id="rId24"/>
    <p:sldLayoutId id="2147483695" r:id="rId25"/>
    <p:sldLayoutId id="2147483747" r:id="rId26"/>
    <p:sldLayoutId id="2147483748" r:id="rId27"/>
    <p:sldLayoutId id="2147483749" r:id="rId28"/>
    <p:sldLayoutId id="2147483750" r:id="rId29"/>
    <p:sldLayoutId id="2147483751" r:id="rId30"/>
    <p:sldLayoutId id="2147483682" r:id="rId31"/>
    <p:sldLayoutId id="2147483705" r:id="rId32"/>
    <p:sldLayoutId id="2147483703" r:id="rId33"/>
    <p:sldLayoutId id="2147483663" r:id="rId34"/>
    <p:sldLayoutId id="2147483698" r:id="rId35"/>
    <p:sldLayoutId id="2147483696" r:id="rId36"/>
    <p:sldLayoutId id="2147483664" r:id="rId37"/>
    <p:sldLayoutId id="2147483699" r:id="rId38"/>
    <p:sldLayoutId id="2147483704" r:id="rId39"/>
    <p:sldLayoutId id="2147483706" r:id="rId40"/>
    <p:sldLayoutId id="2147483655" r:id="rId41"/>
    <p:sldLayoutId id="2147483671" r:id="rId42"/>
    <p:sldLayoutId id="2147483676" r:id="rId43"/>
    <p:sldLayoutId id="2147483675" r:id="rId44"/>
    <p:sldLayoutId id="2147483680" r:id="rId45"/>
    <p:sldLayoutId id="2147483673" r:id="rId46"/>
    <p:sldLayoutId id="2147483756" r:id="rId47"/>
    <p:sldLayoutId id="2147483681" r:id="rId48"/>
    <p:sldLayoutId id="2147483674" r:id="rId49"/>
    <p:sldLayoutId id="2147483685" r:id="rId50"/>
    <p:sldLayoutId id="2147483684" r:id="rId51"/>
    <p:sldLayoutId id="2147483716" r:id="rId52"/>
    <p:sldLayoutId id="2147483651" r:id="rId53"/>
    <p:sldLayoutId id="2147483665" r:id="rId54"/>
    <p:sldLayoutId id="2147483666" r:id="rId55"/>
    <p:sldLayoutId id="2147483668" r:id="rId56"/>
    <p:sldLayoutId id="2147483686" r:id="rId57"/>
    <p:sldLayoutId id="2147483722" r:id="rId58"/>
    <p:sldLayoutId id="2147483687" r:id="rId59"/>
    <p:sldLayoutId id="2147483723" r:id="rId60"/>
    <p:sldLayoutId id="2147483688" r:id="rId61"/>
    <p:sldLayoutId id="2147483724" r:id="rId62"/>
    <p:sldLayoutId id="2147483689" r:id="rId63"/>
    <p:sldLayoutId id="2147483725" r:id="rId64"/>
    <p:sldLayoutId id="2147483690" r:id="rId65"/>
    <p:sldLayoutId id="2147483726" r:id="rId66"/>
    <p:sldLayoutId id="2147483700" r:id="rId67"/>
    <p:sldLayoutId id="2147483660" r:id="rId68"/>
    <p:sldLayoutId id="2147483730" r:id="rId69"/>
    <p:sldLayoutId id="2147483715" r:id="rId70"/>
    <p:sldLayoutId id="2147483701" r:id="rId71"/>
    <p:sldLayoutId id="2147483733" r:id="rId72"/>
    <p:sldLayoutId id="2147483702" r:id="rId73"/>
    <p:sldLayoutId id="2147483714" r:id="rId74"/>
    <p:sldLayoutId id="2147483752" r:id="rId75"/>
    <p:sldLayoutId id="2147483669" r:id="rId76"/>
    <p:sldLayoutId id="2147483670" r:id="rId77"/>
    <p:sldLayoutId id="2147483735" r:id="rId78"/>
    <p:sldLayoutId id="2147483737" r:id="rId79"/>
    <p:sldLayoutId id="2147483736" r:id="rId80"/>
    <p:sldLayoutId id="2147483677" r:id="rId81"/>
    <p:sldLayoutId id="2147483678" r:id="rId82"/>
    <p:sldLayoutId id="2147483679" r:id="rId83"/>
    <p:sldLayoutId id="2147483727" r:id="rId84"/>
    <p:sldLayoutId id="2147483728" r:id="rId85"/>
    <p:sldLayoutId id="2147483729" r:id="rId86"/>
  </p:sldLayoutIdLst>
  <p:hf sldNum="0" hdr="0"/>
  <p:txStyles>
    <p:title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p:titleStyle>
    <p:body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bodyStyle>
    <p:other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6" userDrawn="1">
          <p15:clr>
            <a:srgbClr val="F26B43"/>
          </p15:clr>
        </p15:guide>
        <p15:guide id="3" pos="914" userDrawn="1">
          <p15:clr>
            <a:srgbClr val="A4A3A4"/>
          </p15:clr>
        </p15:guide>
        <p15:guide id="4" pos="1027" userDrawn="1">
          <p15:clr>
            <a:srgbClr val="A4A3A4"/>
          </p15:clr>
        </p15:guide>
        <p15:guide id="5" pos="1487" userDrawn="1">
          <p15:clr>
            <a:srgbClr val="A4A3A4"/>
          </p15:clr>
        </p15:guide>
        <p15:guide id="6" pos="1601" userDrawn="1">
          <p15:clr>
            <a:srgbClr val="A4A3A4"/>
          </p15:clr>
        </p15:guide>
        <p15:guide id="7" pos="2061" userDrawn="1">
          <p15:clr>
            <a:srgbClr val="A4A3A4"/>
          </p15:clr>
        </p15:guide>
        <p15:guide id="8" pos="2175" userDrawn="1">
          <p15:clr>
            <a:srgbClr val="A4A3A4"/>
          </p15:clr>
        </p15:guide>
        <p15:guide id="9" pos="2635" userDrawn="1">
          <p15:clr>
            <a:srgbClr val="A4A3A4"/>
          </p15:clr>
        </p15:guide>
        <p15:guide id="10" pos="2748" userDrawn="1">
          <p15:clr>
            <a:srgbClr val="A4A3A4"/>
          </p15:clr>
        </p15:guide>
        <p15:guide id="11" pos="3209" userDrawn="1">
          <p15:clr>
            <a:srgbClr val="A4A3A4"/>
          </p15:clr>
        </p15:guide>
        <p15:guide id="12" pos="3322" userDrawn="1">
          <p15:clr>
            <a:srgbClr val="A4A3A4"/>
          </p15:clr>
        </p15:guide>
        <p15:guide id="13" pos="3783" userDrawn="1">
          <p15:clr>
            <a:srgbClr val="A4A3A4"/>
          </p15:clr>
        </p15:guide>
        <p15:guide id="14" pos="3896" userDrawn="1">
          <p15:clr>
            <a:srgbClr val="A4A3A4"/>
          </p15:clr>
        </p15:guide>
        <p15:guide id="15" pos="4357" userDrawn="1">
          <p15:clr>
            <a:srgbClr val="A4A3A4"/>
          </p15:clr>
        </p15:guide>
        <p15:guide id="16" pos="4470" userDrawn="1">
          <p15:clr>
            <a:srgbClr val="A4A3A4"/>
          </p15:clr>
        </p15:guide>
        <p15:guide id="17" pos="4931" userDrawn="1">
          <p15:clr>
            <a:srgbClr val="A4A3A4"/>
          </p15:clr>
        </p15:guide>
        <p15:guide id="18" pos="5044" userDrawn="1">
          <p15:clr>
            <a:srgbClr val="A4A3A4"/>
          </p15:clr>
        </p15:guide>
        <p15:guide id="19" pos="5504" userDrawn="1">
          <p15:clr>
            <a:srgbClr val="A4A3A4"/>
          </p15:clr>
        </p15:guide>
        <p15:guide id="20" pos="5618" userDrawn="1">
          <p15:clr>
            <a:srgbClr val="A4A3A4"/>
          </p15:clr>
        </p15:guide>
        <p15:guide id="21" pos="6078" userDrawn="1">
          <p15:clr>
            <a:srgbClr val="A4A3A4"/>
          </p15:clr>
        </p15:guide>
        <p15:guide id="22" pos="6192" userDrawn="1">
          <p15:clr>
            <a:srgbClr val="A4A3A4"/>
          </p15:clr>
        </p15:guide>
        <p15:guide id="23" pos="6652" userDrawn="1">
          <p15:clr>
            <a:srgbClr val="A4A3A4"/>
          </p15:clr>
        </p15:guide>
        <p15:guide id="24" pos="6765" userDrawn="1">
          <p15:clr>
            <a:srgbClr val="A4A3A4"/>
          </p15:clr>
        </p15:guide>
        <p15:guide id="25" orient="horz" pos="450" userDrawn="1">
          <p15:clr>
            <a:srgbClr val="F26B43"/>
          </p15:clr>
        </p15:guide>
        <p15:guide id="26" orient="horz" pos="3866" userDrawn="1">
          <p15:clr>
            <a:srgbClr val="F26B43"/>
          </p15:clr>
        </p15:guide>
        <p15:guide id="27" orient="horz" pos="1341" userDrawn="1">
          <p15:clr>
            <a:srgbClr val="F26B43"/>
          </p15:clr>
        </p15:guide>
        <p15:guide id="28" orient="horz" pos="840" userDrawn="1">
          <p15:clr>
            <a:srgbClr val="F26B43"/>
          </p15:clr>
        </p15:guide>
        <p15:guide id="29" orient="horz" pos="102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3" Type="http://schemas.openxmlformats.org/officeDocument/2006/relationships/hyperlink" Target="mailto:frederic.portal@twobirds.com" TargetMode="External"/><Relationship Id="rId2" Type="http://schemas.openxmlformats.org/officeDocument/2006/relationships/image" Target="../media/image11.jpg"/><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Date Placeholder 1">
            <a:extLst>
              <a:ext uri="{FF2B5EF4-FFF2-40B4-BE49-F238E27FC236}">
                <a16:creationId xmlns:a16="http://schemas.microsoft.com/office/drawing/2014/main" id="{C6C6870E-833D-43AB-A2FE-CF56D43B5D22}"/>
              </a:ext>
            </a:extLst>
          </p:cNvPr>
          <p:cNvSpPr>
            <a:spLocks noGrp="1"/>
          </p:cNvSpPr>
          <p:nvPr>
            <p:ph type="dt" sz="half" idx="10"/>
          </p:nvPr>
        </p:nvSpPr>
        <p:spPr>
          <a:xfrm>
            <a:off x="2541588" y="3036795"/>
            <a:ext cx="1421397" cy="431156"/>
          </a:xfrm>
        </p:spPr>
        <p:txBody>
          <a:bodyPr/>
          <a:lstStyle/>
          <a:p>
            <a:r>
              <a:rPr lang="en-US" dirty="0"/>
              <a:t>07 juin 2022</a:t>
            </a:r>
            <a:endParaRPr lang="en-GB" dirty="0"/>
          </a:p>
        </p:txBody>
      </p:sp>
      <p:sp>
        <p:nvSpPr>
          <p:cNvPr id="19" name="Title 1">
            <a:extLst>
              <a:ext uri="{FF2B5EF4-FFF2-40B4-BE49-F238E27FC236}">
                <a16:creationId xmlns:a16="http://schemas.microsoft.com/office/drawing/2014/main" id="{22821C8D-6411-44FD-9BD9-8F42F5486670}"/>
              </a:ext>
            </a:extLst>
          </p:cNvPr>
          <p:cNvSpPr>
            <a:spLocks noGrp="1"/>
          </p:cNvSpPr>
          <p:nvPr>
            <p:ph type="ctrTitle"/>
          </p:nvPr>
        </p:nvSpPr>
        <p:spPr>
          <a:xfrm>
            <a:off x="2541588" y="920474"/>
            <a:ext cx="8914802" cy="1646557"/>
          </a:xfrm>
        </p:spPr>
        <p:txBody>
          <a:bodyPr/>
          <a:lstStyle/>
          <a:p>
            <a:br>
              <a:rPr lang="fr-FR" dirty="0"/>
            </a:br>
            <a:r>
              <a:rPr lang="fr-FR" sz="4000" dirty="0"/>
              <a:t>LIFE SCIENCES - Conférence Annuelle</a:t>
            </a:r>
            <a:br>
              <a:rPr lang="fr-FR" dirty="0"/>
            </a:br>
            <a:r>
              <a:rPr lang="fr-FR" sz="2400" dirty="0"/>
              <a:t>Frédéric Portal</a:t>
            </a:r>
            <a:endParaRPr lang="en-GB" sz="3600" dirty="0"/>
          </a:p>
        </p:txBody>
      </p:sp>
      <p:pic>
        <p:nvPicPr>
          <p:cNvPr id="4" name="Image 2">
            <a:extLst>
              <a:ext uri="{FF2B5EF4-FFF2-40B4-BE49-F238E27FC236}">
                <a16:creationId xmlns:a16="http://schemas.microsoft.com/office/drawing/2014/main" id="{75BF1D2C-6D4D-43E3-80DD-E2B97CBFDA0F}"/>
              </a:ext>
            </a:extLst>
          </p:cNvPr>
          <p:cNvPicPr>
            <a:picLocks noChangeAspect="1"/>
          </p:cNvPicPr>
          <p:nvPr/>
        </p:nvPicPr>
        <p:blipFill>
          <a:blip r:embed="rId2"/>
          <a:stretch>
            <a:fillRect/>
          </a:stretch>
        </p:blipFill>
        <p:spPr>
          <a:xfrm>
            <a:off x="8755904" y="2566636"/>
            <a:ext cx="2700486" cy="940318"/>
          </a:xfrm>
          <a:prstGeom prst="rect">
            <a:avLst/>
          </a:prstGeom>
        </p:spPr>
      </p:pic>
    </p:spTree>
    <p:extLst>
      <p:ext uri="{BB962C8B-B14F-4D97-AF65-F5344CB8AC3E}">
        <p14:creationId xmlns:p14="http://schemas.microsoft.com/office/powerpoint/2010/main" val="13546952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76D42E7-90A9-4C42-BA18-599573630272}"/>
              </a:ext>
            </a:extLst>
          </p:cNvPr>
          <p:cNvSpPr>
            <a:spLocks noGrp="1"/>
          </p:cNvSpPr>
          <p:nvPr>
            <p:ph type="title"/>
          </p:nvPr>
        </p:nvSpPr>
        <p:spPr/>
        <p:txBody>
          <a:bodyPr/>
          <a:lstStyle/>
          <a:p>
            <a:r>
              <a:rPr lang="fr-FR" dirty="0"/>
              <a:t>France</a:t>
            </a:r>
          </a:p>
        </p:txBody>
      </p:sp>
      <p:pic>
        <p:nvPicPr>
          <p:cNvPr id="24" name="Picture Placeholder 23">
            <a:extLst>
              <a:ext uri="{FF2B5EF4-FFF2-40B4-BE49-F238E27FC236}">
                <a16:creationId xmlns:a16="http://schemas.microsoft.com/office/drawing/2014/main" id="{FB5AA57B-12C7-460B-A850-DC2779D1D8F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8665" r="18665"/>
          <a:stretch>
            <a:fillRect/>
          </a:stretch>
        </p:blipFill>
        <p:spPr/>
      </p:pic>
      <p:sp>
        <p:nvSpPr>
          <p:cNvPr id="5" name="Footer Placeholder 2">
            <a:extLst>
              <a:ext uri="{FF2B5EF4-FFF2-40B4-BE49-F238E27FC236}">
                <a16:creationId xmlns:a16="http://schemas.microsoft.com/office/drawing/2014/main" id="{363BCCA7-9B7B-4522-93F1-35E4C290F1BB}"/>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26516210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418468A-B718-45B6-82D8-6E6373B73D4F}"/>
              </a:ext>
            </a:extLst>
          </p:cNvPr>
          <p:cNvSpPr>
            <a:spLocks noGrp="1"/>
          </p:cNvSpPr>
          <p:nvPr>
            <p:ph type="ftr" sz="quarter" idx="11"/>
          </p:nvPr>
        </p:nvSpPr>
        <p:spPr/>
        <p:txBody>
          <a:bodyPr/>
          <a:lstStyle/>
          <a:p>
            <a:r>
              <a:rPr lang="fr-FR" sz="800" dirty="0"/>
              <a:t>LIFE SCIENCES - Conférence Annuelle – 07 juin 2022</a:t>
            </a:r>
            <a:endParaRPr lang="en-GB" dirty="0"/>
          </a:p>
        </p:txBody>
      </p:sp>
      <p:sp>
        <p:nvSpPr>
          <p:cNvPr id="7" name="Subtitle 11">
            <a:extLst>
              <a:ext uri="{FF2B5EF4-FFF2-40B4-BE49-F238E27FC236}">
                <a16:creationId xmlns:a16="http://schemas.microsoft.com/office/drawing/2014/main" id="{4BFB6608-044E-4B13-B649-66239692A22B}"/>
              </a:ext>
            </a:extLst>
          </p:cNvPr>
          <p:cNvSpPr>
            <a:spLocks noGrp="1"/>
          </p:cNvSpPr>
          <p:nvPr>
            <p:ph type="subTitle" idx="12"/>
          </p:nvPr>
        </p:nvSpPr>
        <p:spPr>
          <a:xfrm>
            <a:off x="719137" y="1266739"/>
            <a:ext cx="9840913" cy="377790"/>
          </a:xfrm>
        </p:spPr>
        <p:txBody>
          <a:bodyPr/>
          <a:lstStyle/>
          <a:p>
            <a:r>
              <a:rPr lang="fr-FR" sz="2000" dirty="0"/>
              <a:t>Article L. 615-3 Code de la propriété intellectuelle</a:t>
            </a:r>
            <a:endParaRPr lang="en-GB" sz="2000" dirty="0"/>
          </a:p>
        </p:txBody>
      </p:sp>
      <p:sp>
        <p:nvSpPr>
          <p:cNvPr id="8" name="Title 9">
            <a:extLst>
              <a:ext uri="{FF2B5EF4-FFF2-40B4-BE49-F238E27FC236}">
                <a16:creationId xmlns:a16="http://schemas.microsoft.com/office/drawing/2014/main" id="{FA1D14BE-C4E1-48A6-A047-0CAD8A30179C}"/>
              </a:ext>
            </a:extLst>
          </p:cNvPr>
          <p:cNvSpPr>
            <a:spLocks noGrp="1"/>
          </p:cNvSpPr>
          <p:nvPr>
            <p:ph type="title"/>
          </p:nvPr>
        </p:nvSpPr>
        <p:spPr>
          <a:xfrm>
            <a:off x="719137" y="666745"/>
            <a:ext cx="9840913" cy="447952"/>
          </a:xfrm>
        </p:spPr>
        <p:txBody>
          <a:bodyPr/>
          <a:lstStyle/>
          <a:p>
            <a:r>
              <a:rPr lang="fr-FR" sz="3200" dirty="0"/>
              <a:t>Principe</a:t>
            </a:r>
            <a:endParaRPr lang="en-GB" sz="3200" dirty="0"/>
          </a:p>
        </p:txBody>
      </p:sp>
      <p:sp>
        <p:nvSpPr>
          <p:cNvPr id="9" name="Content Placeholder 3">
            <a:extLst>
              <a:ext uri="{FF2B5EF4-FFF2-40B4-BE49-F238E27FC236}">
                <a16:creationId xmlns:a16="http://schemas.microsoft.com/office/drawing/2014/main" id="{28C17D57-07EE-45E2-B75C-428F7662F2FA}"/>
              </a:ext>
            </a:extLst>
          </p:cNvPr>
          <p:cNvSpPr>
            <a:spLocks noGrp="1"/>
          </p:cNvSpPr>
          <p:nvPr>
            <p:ph idx="1"/>
          </p:nvPr>
        </p:nvSpPr>
        <p:spPr>
          <a:xfrm>
            <a:off x="719136" y="1757842"/>
            <a:ext cx="10596563" cy="4320202"/>
          </a:xfrm>
        </p:spPr>
        <p:txBody>
          <a:bodyPr/>
          <a:lstStyle/>
          <a:p>
            <a:pPr algn="just">
              <a:lnSpc>
                <a:spcPct val="150000"/>
              </a:lnSpc>
            </a:pPr>
            <a:r>
              <a:rPr lang="fr-FR" b="0" i="1" dirty="0">
                <a:solidFill>
                  <a:srgbClr val="323E48"/>
                </a:solidFill>
                <a:effectLst/>
                <a:latin typeface="+mj-lt"/>
              </a:rPr>
              <a:t>"Toute personne ayant qualité pour agir en contrefaçon peut saisir en référé la juridiction civile compétente afin de voir ordonner, au besoin sous astreinte, à l'encontre du prétendu contrefacteur ou des intermédiaires dont il utilise les services, </a:t>
            </a:r>
            <a:r>
              <a:rPr lang="fr-FR" b="1" i="1" dirty="0">
                <a:solidFill>
                  <a:srgbClr val="323E48"/>
                </a:solidFill>
                <a:effectLst/>
                <a:latin typeface="+mj-lt"/>
              </a:rPr>
              <a:t>toute mesure destinée à prévenir une atteinte imminente aux droits conférés par le titre ou à empêcher la poursuite d'actes argués de contrefaçon</a:t>
            </a:r>
            <a:r>
              <a:rPr lang="fr-FR" b="0" i="1" dirty="0">
                <a:solidFill>
                  <a:srgbClr val="323E48"/>
                </a:solidFill>
                <a:effectLst/>
                <a:latin typeface="+mj-lt"/>
              </a:rPr>
              <a:t>."</a:t>
            </a:r>
          </a:p>
          <a:p>
            <a:pPr algn="just">
              <a:lnSpc>
                <a:spcPct val="150000"/>
              </a:lnSpc>
              <a:spcAft>
                <a:spcPts val="800"/>
              </a:spcAft>
            </a:pPr>
            <a:r>
              <a:rPr lang="fr-FR" i="1" u="sng" dirty="0">
                <a:solidFill>
                  <a:srgbClr val="323E48"/>
                </a:solidFill>
                <a:latin typeface="+mj-lt"/>
              </a:rPr>
              <a:t>3 questions à se poser</a:t>
            </a:r>
            <a:r>
              <a:rPr lang="fr-FR" i="1" dirty="0">
                <a:solidFill>
                  <a:srgbClr val="323E48"/>
                </a:solidFill>
                <a:latin typeface="+mj-lt"/>
              </a:rPr>
              <a:t> :</a:t>
            </a:r>
            <a:r>
              <a:rPr lang="fr-FR" i="1" u="sng" dirty="0">
                <a:solidFill>
                  <a:srgbClr val="323E48"/>
                </a:solidFill>
                <a:latin typeface="+mj-lt"/>
              </a:rPr>
              <a:t> </a:t>
            </a:r>
            <a:endParaRPr lang="fr-FR" b="0" i="1" u="sng" dirty="0">
              <a:solidFill>
                <a:srgbClr val="323E48"/>
              </a:solidFill>
              <a:effectLst/>
              <a:latin typeface="+mj-lt"/>
            </a:endParaRPr>
          </a:p>
          <a:p>
            <a:pPr marL="465750" lvl="1" indent="-285750" algn="just">
              <a:lnSpc>
                <a:spcPct val="150000"/>
              </a:lnSpc>
              <a:buFont typeface="Wingdings" panose="05000000000000000000" pitchFamily="2" charset="2"/>
              <a:buChar char="Ø"/>
            </a:pPr>
            <a:r>
              <a:rPr lang="fr-FR" dirty="0">
                <a:solidFill>
                  <a:srgbClr val="323E48"/>
                </a:solidFill>
                <a:latin typeface="+mj-lt"/>
              </a:rPr>
              <a:t>La </a:t>
            </a:r>
            <a:r>
              <a:rPr lang="fr-FR" b="1" dirty="0">
                <a:solidFill>
                  <a:srgbClr val="323E48"/>
                </a:solidFill>
                <a:latin typeface="+mj-lt"/>
              </a:rPr>
              <a:t>contestation</a:t>
            </a:r>
            <a:r>
              <a:rPr lang="fr-FR" dirty="0">
                <a:solidFill>
                  <a:srgbClr val="323E48"/>
                </a:solidFill>
                <a:latin typeface="+mj-lt"/>
              </a:rPr>
              <a:t> de la </a:t>
            </a:r>
            <a:r>
              <a:rPr lang="fr-FR" b="1" dirty="0">
                <a:solidFill>
                  <a:srgbClr val="323E48"/>
                </a:solidFill>
                <a:latin typeface="+mj-lt"/>
              </a:rPr>
              <a:t>validité</a:t>
            </a:r>
            <a:r>
              <a:rPr lang="fr-FR" dirty="0">
                <a:solidFill>
                  <a:srgbClr val="323E48"/>
                </a:solidFill>
                <a:latin typeface="+mj-lt"/>
              </a:rPr>
              <a:t> du brevet / CCP est-elle </a:t>
            </a:r>
            <a:r>
              <a:rPr lang="fr-FR" b="1" dirty="0">
                <a:solidFill>
                  <a:srgbClr val="323E48"/>
                </a:solidFill>
                <a:latin typeface="+mj-lt"/>
              </a:rPr>
              <a:t>sérieuse</a:t>
            </a:r>
            <a:r>
              <a:rPr lang="fr-FR" dirty="0">
                <a:solidFill>
                  <a:srgbClr val="323E48"/>
                </a:solidFill>
                <a:latin typeface="+mj-lt"/>
              </a:rPr>
              <a:t> ?</a:t>
            </a:r>
          </a:p>
          <a:p>
            <a:pPr marL="465750" lvl="1" indent="-285750" algn="just">
              <a:lnSpc>
                <a:spcPct val="150000"/>
              </a:lnSpc>
              <a:buFont typeface="Wingdings" panose="05000000000000000000" pitchFamily="2" charset="2"/>
              <a:buChar char="Ø"/>
            </a:pPr>
            <a:r>
              <a:rPr lang="fr-FR" dirty="0">
                <a:solidFill>
                  <a:srgbClr val="323E48"/>
                </a:solidFill>
                <a:latin typeface="+mj-lt"/>
              </a:rPr>
              <a:t>La </a:t>
            </a:r>
            <a:r>
              <a:rPr lang="fr-FR" b="1" dirty="0">
                <a:solidFill>
                  <a:srgbClr val="323E48"/>
                </a:solidFill>
                <a:latin typeface="+mj-lt"/>
              </a:rPr>
              <a:t>contestation</a:t>
            </a:r>
            <a:r>
              <a:rPr lang="fr-FR" dirty="0">
                <a:solidFill>
                  <a:srgbClr val="323E48"/>
                </a:solidFill>
                <a:latin typeface="+mj-lt"/>
              </a:rPr>
              <a:t> de la </a:t>
            </a:r>
            <a:r>
              <a:rPr lang="fr-FR" b="1" dirty="0">
                <a:solidFill>
                  <a:srgbClr val="323E48"/>
                </a:solidFill>
                <a:latin typeface="+mj-lt"/>
              </a:rPr>
              <a:t>contrefaçon</a:t>
            </a:r>
            <a:r>
              <a:rPr lang="fr-FR" dirty="0">
                <a:solidFill>
                  <a:srgbClr val="323E48"/>
                </a:solidFill>
                <a:latin typeface="+mj-lt"/>
              </a:rPr>
              <a:t> est-elle </a:t>
            </a:r>
            <a:r>
              <a:rPr lang="fr-FR" b="1" dirty="0">
                <a:solidFill>
                  <a:srgbClr val="323E48"/>
                </a:solidFill>
                <a:latin typeface="+mj-lt"/>
              </a:rPr>
              <a:t>sérieuse</a:t>
            </a:r>
            <a:r>
              <a:rPr lang="fr-FR" dirty="0">
                <a:solidFill>
                  <a:srgbClr val="323E48"/>
                </a:solidFill>
                <a:latin typeface="+mj-lt"/>
              </a:rPr>
              <a:t> ?</a:t>
            </a:r>
          </a:p>
          <a:p>
            <a:pPr marL="465750" lvl="1" indent="-285750" algn="just">
              <a:lnSpc>
                <a:spcPct val="150000"/>
              </a:lnSpc>
              <a:buFont typeface="Wingdings" panose="05000000000000000000" pitchFamily="2" charset="2"/>
              <a:buChar char="Ø"/>
            </a:pPr>
            <a:r>
              <a:rPr lang="fr-FR" b="1" dirty="0">
                <a:solidFill>
                  <a:srgbClr val="323E48"/>
                </a:solidFill>
                <a:latin typeface="+mj-lt"/>
              </a:rPr>
              <a:t>L'imminence</a:t>
            </a:r>
            <a:r>
              <a:rPr lang="fr-FR" dirty="0">
                <a:solidFill>
                  <a:srgbClr val="323E48"/>
                </a:solidFill>
                <a:latin typeface="+mj-lt"/>
              </a:rPr>
              <a:t> de l'atteinte au droit de PI est-elle établie ? </a:t>
            </a:r>
            <a:endParaRPr lang="en-GB" i="1" dirty="0">
              <a:solidFill>
                <a:srgbClr val="323E48"/>
              </a:solidFill>
              <a:latin typeface="+mj-lt"/>
            </a:endParaRPr>
          </a:p>
        </p:txBody>
      </p:sp>
    </p:spTree>
    <p:extLst>
      <p:ext uri="{BB962C8B-B14F-4D97-AF65-F5344CB8AC3E}">
        <p14:creationId xmlns:p14="http://schemas.microsoft.com/office/powerpoint/2010/main" val="2230691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5226023-5A99-45BA-A9A1-D8C5DF011057}"/>
              </a:ext>
            </a:extLst>
          </p:cNvPr>
          <p:cNvSpPr>
            <a:spLocks noGrp="1"/>
          </p:cNvSpPr>
          <p:nvPr>
            <p:ph type="body" sz="quarter" idx="11"/>
          </p:nvPr>
        </p:nvSpPr>
        <p:spPr>
          <a:xfrm>
            <a:off x="719138" y="2519999"/>
            <a:ext cx="5916612" cy="3617275"/>
          </a:xfrm>
        </p:spPr>
        <p:txBody>
          <a:bodyPr>
            <a:normAutofit/>
          </a:bodyPr>
          <a:lstStyle/>
          <a:p>
            <a:pPr algn="just">
              <a:spcBef>
                <a:spcPts val="600"/>
              </a:spcBef>
            </a:pPr>
            <a:endParaRPr lang="fr-FR" sz="1400" i="0" dirty="0">
              <a:solidFill>
                <a:srgbClr val="303030"/>
              </a:solidFill>
              <a:effectLst/>
              <a:latin typeface="+mj-lt"/>
            </a:endParaRPr>
          </a:p>
          <a:p>
            <a:pPr algn="just">
              <a:spcBef>
                <a:spcPts val="0"/>
              </a:spcBef>
            </a:pPr>
            <a:r>
              <a:rPr lang="fr-FR" sz="1200" dirty="0">
                <a:solidFill>
                  <a:srgbClr val="303030"/>
                </a:solidFill>
                <a:latin typeface="+mj-lt"/>
              </a:rPr>
              <a:t>"</a:t>
            </a:r>
            <a:r>
              <a:rPr lang="fr-FR" sz="1400" b="1" i="1" dirty="0">
                <a:solidFill>
                  <a:srgbClr val="303030"/>
                </a:solidFill>
                <a:latin typeface="+mj-lt"/>
              </a:rPr>
              <a:t>L</a:t>
            </a:r>
            <a:r>
              <a:rPr lang="fr-FR" sz="1400" b="1" i="1" dirty="0">
                <a:solidFill>
                  <a:srgbClr val="303030"/>
                </a:solidFill>
                <a:effectLst/>
                <a:latin typeface="+mj-lt"/>
              </a:rPr>
              <a:t>’article 3§2 de la directive européenne 2004/48/CE </a:t>
            </a:r>
            <a:r>
              <a:rPr lang="fr-FR" sz="1400" b="0" i="1" dirty="0">
                <a:solidFill>
                  <a:srgbClr val="303030"/>
                </a:solidFill>
                <a:effectLst/>
                <a:latin typeface="+mj-lt"/>
              </a:rPr>
              <a:t>du 29 avril 2004 relative au respect des droits de propriété intel</a:t>
            </a:r>
            <a:r>
              <a:rPr lang="fr-FR" sz="1400" i="1" dirty="0">
                <a:solidFill>
                  <a:srgbClr val="303030"/>
                </a:solidFill>
                <a:latin typeface="+mj-lt"/>
              </a:rPr>
              <a:t>l</a:t>
            </a:r>
            <a:r>
              <a:rPr lang="fr-FR" sz="1400" b="0" i="1" dirty="0">
                <a:solidFill>
                  <a:srgbClr val="303030"/>
                </a:solidFill>
                <a:effectLst/>
                <a:latin typeface="+mj-lt"/>
              </a:rPr>
              <a:t>ectuelle à la lumière de laquel</a:t>
            </a:r>
            <a:r>
              <a:rPr lang="fr-FR" sz="1400" i="1" dirty="0">
                <a:solidFill>
                  <a:srgbClr val="303030"/>
                </a:solidFill>
                <a:latin typeface="+mj-lt"/>
              </a:rPr>
              <a:t>l</a:t>
            </a:r>
            <a:r>
              <a:rPr lang="fr-FR" sz="1400" b="0" i="1" dirty="0">
                <a:solidFill>
                  <a:srgbClr val="303030"/>
                </a:solidFill>
                <a:effectLst/>
                <a:latin typeface="+mj-lt"/>
              </a:rPr>
              <a:t>e les articles </a:t>
            </a:r>
            <a:r>
              <a:rPr lang="fr-FR" sz="1400" b="1" i="1" dirty="0">
                <a:solidFill>
                  <a:srgbClr val="303030"/>
                </a:solidFill>
                <a:effectLst/>
                <a:latin typeface="+mj-lt"/>
              </a:rPr>
              <a:t>L 615-3 et L. 615-5-2 </a:t>
            </a:r>
            <a:r>
              <a:rPr lang="fr-FR" sz="1400" b="0" i="1" dirty="0">
                <a:solidFill>
                  <a:srgbClr val="303030"/>
                </a:solidFill>
                <a:effectLst/>
                <a:latin typeface="+mj-lt"/>
              </a:rPr>
              <a:t>doivent être interprétés énonce que </a:t>
            </a:r>
            <a:r>
              <a:rPr lang="fr-FR" sz="1400" b="0" i="1" dirty="0" err="1">
                <a:solidFill>
                  <a:srgbClr val="303030"/>
                </a:solidFill>
                <a:effectLst/>
                <a:latin typeface="+mj-lt"/>
              </a:rPr>
              <a:t>'les</a:t>
            </a:r>
            <a:r>
              <a:rPr lang="fr-FR" sz="1400" b="0" i="1" dirty="0">
                <a:solidFill>
                  <a:srgbClr val="303030"/>
                </a:solidFill>
                <a:effectLst/>
                <a:latin typeface="+mj-lt"/>
              </a:rPr>
              <a:t> mesures, procédures et réparations doivent également être </a:t>
            </a:r>
            <a:r>
              <a:rPr lang="fr-FR" sz="1400" b="1" i="1" dirty="0">
                <a:solidFill>
                  <a:srgbClr val="303030"/>
                </a:solidFill>
                <a:effectLst/>
                <a:latin typeface="+mj-lt"/>
              </a:rPr>
              <a:t>effectives, proportionnées et dissuasives </a:t>
            </a:r>
            <a:r>
              <a:rPr lang="fr-FR" sz="1400" b="0" i="1" dirty="0">
                <a:solidFill>
                  <a:srgbClr val="303030"/>
                </a:solidFill>
                <a:effectLst/>
                <a:latin typeface="+mj-lt"/>
              </a:rPr>
              <a:t>et être appliquées de manière à éviter la création d’obstacles au commerce légitime et à offrir des sauvegardes contre leur usage abusif', et que le </a:t>
            </a:r>
            <a:r>
              <a:rPr lang="fr-FR" sz="1400" b="1" i="1" dirty="0">
                <a:solidFill>
                  <a:srgbClr val="303030"/>
                </a:solidFill>
                <a:effectLst/>
                <a:latin typeface="+mj-lt"/>
              </a:rPr>
              <a:t>considérant 22 </a:t>
            </a:r>
            <a:r>
              <a:rPr lang="fr-FR" sz="1400" b="0" i="1" dirty="0">
                <a:solidFill>
                  <a:srgbClr val="303030"/>
                </a:solidFill>
                <a:effectLst/>
                <a:latin typeface="+mj-lt"/>
              </a:rPr>
              <a:t>de l’exposé des motifs de ladite directive </a:t>
            </a:r>
            <a:r>
              <a:rPr lang="fr-FR" sz="1400" i="1" dirty="0">
                <a:solidFill>
                  <a:srgbClr val="303030"/>
                </a:solidFill>
                <a:latin typeface="+mj-lt"/>
              </a:rPr>
              <a:t>énonce </a:t>
            </a:r>
            <a:r>
              <a:rPr lang="fr-FR" sz="1400" i="1" dirty="0">
                <a:latin typeface="+mj-lt"/>
              </a:rPr>
              <a:t>qu’il y a lieu de </a:t>
            </a:r>
            <a:r>
              <a:rPr lang="fr-FR" sz="1400" b="1" i="1" dirty="0">
                <a:solidFill>
                  <a:srgbClr val="005C83"/>
                </a:solidFill>
                <a:latin typeface="+mj-lt"/>
              </a:rPr>
              <a:t>veiller à la proportionnalité des mesures provisoires </a:t>
            </a:r>
            <a:r>
              <a:rPr lang="fr-FR" sz="1400" i="1" dirty="0">
                <a:latin typeface="+mj-lt"/>
              </a:rPr>
              <a:t>permettant</a:t>
            </a:r>
            <a:r>
              <a:rPr lang="fr-FR" sz="1400" b="1" i="1" dirty="0">
                <a:solidFill>
                  <a:srgbClr val="005C83"/>
                </a:solidFill>
                <a:latin typeface="+mj-lt"/>
              </a:rPr>
              <a:t> </a:t>
            </a:r>
            <a:r>
              <a:rPr lang="fr-FR" sz="1400" i="1" dirty="0">
                <a:solidFill>
                  <a:srgbClr val="303030"/>
                </a:solidFill>
                <a:latin typeface="+mj-lt"/>
              </a:rPr>
              <a:t>de faire cesser immédiatement l’atteinte en fonction des spécificités de chaque cas d’espèce, et que 'ces mesures sont notamment justifiées lorsque tout retard serait de nature à causer un préjudice irréparable au titulaire d’un droit de propriété intellectuelle. </a:t>
            </a:r>
          </a:p>
          <a:p>
            <a:pPr algn="just">
              <a:spcBef>
                <a:spcPts val="0"/>
              </a:spcBef>
            </a:pPr>
            <a:endParaRPr lang="fr-FR" sz="1400" i="1" dirty="0">
              <a:solidFill>
                <a:srgbClr val="303030"/>
              </a:solidFill>
            </a:endParaRPr>
          </a:p>
          <a:p>
            <a:pPr algn="just">
              <a:spcBef>
                <a:spcPts val="0"/>
              </a:spcBef>
            </a:pPr>
            <a:r>
              <a:rPr lang="fr-FR" sz="1400" i="1" dirty="0">
                <a:solidFill>
                  <a:srgbClr val="303030"/>
                </a:solidFill>
                <a:latin typeface="+mj-lt"/>
              </a:rPr>
              <a:t>Il appartient donc au juge de la mise en état d’évaluer la </a:t>
            </a:r>
            <a:r>
              <a:rPr lang="fr-FR" sz="1400" b="1" i="1" dirty="0">
                <a:solidFill>
                  <a:schemeClr val="tx2"/>
                </a:solidFill>
                <a:latin typeface="+mj-lt"/>
              </a:rPr>
              <a:t>proportion entre les mesures sollicitées et l’atteinte alléguée</a:t>
            </a:r>
            <a:r>
              <a:rPr lang="fr-FR" sz="1400" dirty="0">
                <a:solidFill>
                  <a:srgbClr val="303030"/>
                </a:solidFill>
                <a:latin typeface="+mj-lt"/>
              </a:rPr>
              <a:t>."</a:t>
            </a:r>
          </a:p>
          <a:p>
            <a:pPr algn="just"/>
            <a:endParaRPr lang="fr-FR" sz="1400" i="1" dirty="0">
              <a:solidFill>
                <a:srgbClr val="FF0000"/>
              </a:solidFill>
              <a:effectLst/>
              <a:latin typeface="+mj-lt"/>
            </a:endParaRPr>
          </a:p>
        </p:txBody>
      </p:sp>
      <p:sp>
        <p:nvSpPr>
          <p:cNvPr id="9" name="Subtitle 9">
            <a:extLst>
              <a:ext uri="{FF2B5EF4-FFF2-40B4-BE49-F238E27FC236}">
                <a16:creationId xmlns:a16="http://schemas.microsoft.com/office/drawing/2014/main" id="{C3D977AF-2B7D-4036-AE1E-36637D532D0B}"/>
              </a:ext>
            </a:extLst>
          </p:cNvPr>
          <p:cNvSpPr>
            <a:spLocks noGrp="1"/>
          </p:cNvSpPr>
          <p:nvPr>
            <p:ph type="body" sz="quarter" idx="23"/>
          </p:nvPr>
        </p:nvSpPr>
        <p:spPr/>
        <p:txBody>
          <a:bodyPr/>
          <a:lstStyle/>
          <a:p>
            <a:endParaRPr lang="fr-FR" dirty="0">
              <a:solidFill>
                <a:srgbClr val="303030"/>
              </a:solidFill>
            </a:endParaRPr>
          </a:p>
        </p:txBody>
      </p:sp>
      <p:sp>
        <p:nvSpPr>
          <p:cNvPr id="7" name="Title 6">
            <a:extLst>
              <a:ext uri="{FF2B5EF4-FFF2-40B4-BE49-F238E27FC236}">
                <a16:creationId xmlns:a16="http://schemas.microsoft.com/office/drawing/2014/main" id="{CC5A0997-8406-4FF3-AB6C-3530BA0BCE73}"/>
              </a:ext>
            </a:extLst>
          </p:cNvPr>
          <p:cNvSpPr>
            <a:spLocks noGrp="1"/>
          </p:cNvSpPr>
          <p:nvPr>
            <p:ph type="title" idx="4294967295"/>
          </p:nvPr>
        </p:nvSpPr>
        <p:spPr>
          <a:xfrm>
            <a:off x="719138" y="361157"/>
            <a:ext cx="9110663" cy="719138"/>
          </a:xfrm>
        </p:spPr>
        <p:txBody>
          <a:bodyPr/>
          <a:lstStyle/>
          <a:p>
            <a:r>
              <a:rPr lang="fr-FR" sz="3000" dirty="0"/>
              <a:t>Critère de proportionnalité</a:t>
            </a:r>
          </a:p>
        </p:txBody>
      </p:sp>
      <p:sp>
        <p:nvSpPr>
          <p:cNvPr id="6" name="TextBox 5">
            <a:extLst>
              <a:ext uri="{FF2B5EF4-FFF2-40B4-BE49-F238E27FC236}">
                <a16:creationId xmlns:a16="http://schemas.microsoft.com/office/drawing/2014/main" id="{8F30552E-2A06-4FAC-9391-28C4FDD904B2}"/>
              </a:ext>
            </a:extLst>
          </p:cNvPr>
          <p:cNvSpPr txBox="1"/>
          <p:nvPr/>
        </p:nvSpPr>
        <p:spPr>
          <a:xfrm>
            <a:off x="1917700" y="1390527"/>
            <a:ext cx="6210300" cy="662746"/>
          </a:xfrm>
          <a:prstGeom prst="rect">
            <a:avLst/>
          </a:prstGeom>
          <a:noFill/>
        </p:spPr>
        <p:txBody>
          <a:bodyPr wrap="square">
            <a:spAutoFit/>
          </a:bodyPr>
          <a:lstStyle/>
          <a:p>
            <a:r>
              <a:rPr lang="fr-FR" b="1" dirty="0"/>
              <a:t>CA Paris du 9 novembre 2021 n°21/01880 </a:t>
            </a:r>
            <a:endParaRPr lang="fr-FR" dirty="0"/>
          </a:p>
          <a:p>
            <a:r>
              <a:rPr lang="fr-FR" dirty="0" err="1">
                <a:solidFill>
                  <a:srgbClr val="303030"/>
                </a:solidFill>
              </a:rPr>
              <a:t>Zentiva</a:t>
            </a:r>
            <a:r>
              <a:rPr lang="fr-FR" dirty="0">
                <a:solidFill>
                  <a:srgbClr val="303030"/>
                </a:solidFill>
              </a:rPr>
              <a:t> France v. Eli Lilly</a:t>
            </a:r>
          </a:p>
        </p:txBody>
      </p:sp>
      <p:sp>
        <p:nvSpPr>
          <p:cNvPr id="10" name="Footer Placeholder 2">
            <a:extLst>
              <a:ext uri="{FF2B5EF4-FFF2-40B4-BE49-F238E27FC236}">
                <a16:creationId xmlns:a16="http://schemas.microsoft.com/office/drawing/2014/main" id="{5CA60F4D-CC93-4FA1-BDB5-42C241883EBB}"/>
              </a:ext>
            </a:extLst>
          </p:cNvPr>
          <p:cNvSpPr txBox="1">
            <a:spLocks/>
          </p:cNvSpPr>
          <p:nvPr/>
        </p:nvSpPr>
        <p:spPr>
          <a:xfrm>
            <a:off x="7400925" y="6402850"/>
            <a:ext cx="4058158" cy="144000"/>
          </a:xfrm>
          <a:prstGeom prst="rect">
            <a:avLst/>
          </a:prstGeom>
        </p:spPr>
        <p:txBody>
          <a:bodyPr vert="horz" lIns="0" tIns="0" rIns="0" bIns="0" rtlCol="0">
            <a:normAutofit/>
          </a:bodyPr>
          <a:lstStyle>
            <a:lvl1pPr marL="0" indent="0" algn="l" defTabSz="914377" rtl="0" eaLnBrk="1" latinLnBrk="0" hangingPunct="1">
              <a:lnSpc>
                <a:spcPct val="95000"/>
              </a:lnSpc>
              <a:spcBef>
                <a:spcPts val="800"/>
              </a:spcBef>
              <a:buFont typeface="Arial" panose="020B0604020202020204" pitchFamily="34" charset="0"/>
              <a:buNone/>
              <a:defRPr sz="3600" kern="1200">
                <a:solidFill>
                  <a:schemeClr val="tx1"/>
                </a:solidFill>
                <a:latin typeface="+mj-lt"/>
                <a:ea typeface="+mn-ea"/>
                <a:cs typeface="+mn-cs"/>
              </a:defRPr>
            </a:lvl1pPr>
            <a:lvl2pPr marL="0" indent="0" algn="l" defTabSz="914377" rtl="0" eaLnBrk="1" latinLnBrk="0" hangingPunct="1">
              <a:lnSpc>
                <a:spcPct val="95000"/>
              </a:lnSpc>
              <a:spcBef>
                <a:spcPts val="1800"/>
              </a:spcBef>
              <a:buClr>
                <a:schemeClr val="tx2"/>
              </a:buClr>
              <a:buFont typeface="Symbol" panose="05050102010706020507" pitchFamily="18" charset="2"/>
              <a:buNone/>
              <a:defRPr sz="1600" i="1" kern="1200">
                <a:solidFill>
                  <a:schemeClr val="tx1"/>
                </a:solidFill>
                <a:latin typeface="+mj-lt"/>
                <a:ea typeface="+mn-ea"/>
                <a:cs typeface="+mn-cs"/>
              </a:defRPr>
            </a:lvl2pPr>
            <a:lvl3pPr marL="0" indent="0" algn="l" defTabSz="914377" rtl="0" eaLnBrk="1" latinLnBrk="0" hangingPunct="1">
              <a:lnSpc>
                <a:spcPct val="95000"/>
              </a:lnSpc>
              <a:spcBef>
                <a:spcPts val="800"/>
              </a:spcBef>
              <a:buClr>
                <a:schemeClr val="tx2"/>
              </a:buClr>
              <a:buFont typeface="Arial" panose="020B0604020202020204" pitchFamily="34" charset="0"/>
              <a:buNone/>
              <a:defRPr sz="1000" kern="1200">
                <a:solidFill>
                  <a:schemeClr val="tx1"/>
                </a:solidFill>
                <a:latin typeface="+mn-lt"/>
                <a:ea typeface="+mn-ea"/>
                <a:cs typeface="+mn-cs"/>
              </a:defRPr>
            </a:lvl3pPr>
            <a:lvl4pPr marL="0" indent="0" algn="l" defTabSz="914377" rtl="0" eaLnBrk="1" latinLnBrk="0" hangingPunct="1">
              <a:lnSpc>
                <a:spcPct val="95000"/>
              </a:lnSpc>
              <a:spcBef>
                <a:spcPts val="800"/>
              </a:spcBef>
              <a:buClr>
                <a:schemeClr val="tx2"/>
              </a:buClr>
              <a:buFont typeface="Arial" panose="020B0604020202020204" pitchFamily="34" charset="0"/>
              <a:buNone/>
              <a:defRPr sz="2800" kern="1200">
                <a:solidFill>
                  <a:schemeClr val="tx1"/>
                </a:solidFill>
                <a:latin typeface="+mj-lt"/>
                <a:ea typeface="+mn-ea"/>
                <a:cs typeface="+mn-cs"/>
              </a:defRPr>
            </a:lvl4pPr>
            <a:lvl5pPr marL="0" indent="0" algn="l" defTabSz="914377" rtl="0" eaLnBrk="1" latinLnBrk="0" hangingPunct="1">
              <a:lnSpc>
                <a:spcPct val="95000"/>
              </a:lnSpc>
              <a:spcBef>
                <a:spcPts val="800"/>
              </a:spcBef>
              <a:buClr>
                <a:schemeClr val="tx2"/>
              </a:buClr>
              <a:buFont typeface="Arial" panose="020B0604020202020204" pitchFamily="34" charset="0"/>
              <a:buNone/>
              <a:defRPr sz="2400" kern="1200">
                <a:solidFill>
                  <a:schemeClr val="tx1"/>
                </a:solidFill>
                <a:latin typeface="+mj-lt"/>
                <a:ea typeface="+mn-ea"/>
                <a:cs typeface="+mn-cs"/>
              </a:defRPr>
            </a:lvl5pPr>
            <a:lvl6pPr marL="0" indent="0" algn="l" defTabSz="914377" rtl="0" eaLnBrk="1" latinLnBrk="0" hangingPunct="1">
              <a:lnSpc>
                <a:spcPct val="95000"/>
              </a:lnSpc>
              <a:spcBef>
                <a:spcPts val="800"/>
              </a:spcBef>
              <a:buClr>
                <a:schemeClr val="tx2"/>
              </a:buClr>
              <a:buFont typeface="Arial" panose="020B0604020202020204" pitchFamily="34" charset="0"/>
              <a:buNone/>
              <a:defRPr sz="2000" kern="1200">
                <a:solidFill>
                  <a:schemeClr val="tx1"/>
                </a:solidFill>
                <a:latin typeface="+mj-lt"/>
                <a:ea typeface="+mn-ea"/>
                <a:cs typeface="+mn-cs"/>
              </a:defRPr>
            </a:lvl6pPr>
            <a:lvl7pPr marL="0" indent="0" algn="l" defTabSz="914377" rtl="0" eaLnBrk="1" latinLnBrk="0" hangingPunct="1">
              <a:lnSpc>
                <a:spcPct val="95000"/>
              </a:lnSpc>
              <a:spcBef>
                <a:spcPts val="800"/>
              </a:spcBef>
              <a:buFontTx/>
              <a:buNone/>
              <a:defRPr sz="2000" kern="1200">
                <a:solidFill>
                  <a:schemeClr val="tx1"/>
                </a:solidFill>
                <a:latin typeface="+mj-lt"/>
                <a:ea typeface="+mn-ea"/>
                <a:cs typeface="+mn-cs"/>
              </a:defRPr>
            </a:lvl7pPr>
            <a:lvl8pPr marL="0" indent="0" algn="l" defTabSz="914377" rtl="0" eaLnBrk="1" latinLnBrk="0" hangingPunct="1">
              <a:lnSpc>
                <a:spcPct val="95000"/>
              </a:lnSpc>
              <a:spcBef>
                <a:spcPts val="800"/>
              </a:spcBef>
              <a:buFont typeface="Arial" panose="020B0604020202020204" pitchFamily="34" charset="0"/>
              <a:buNone/>
              <a:defRPr lang="en-GB" sz="1800" kern="1200" dirty="0" smtClean="0">
                <a:solidFill>
                  <a:schemeClr val="tx1"/>
                </a:solidFill>
                <a:latin typeface="+mj-lt"/>
                <a:ea typeface="+mn-ea"/>
                <a:cs typeface="+mn-cs"/>
              </a:defRPr>
            </a:lvl8pPr>
            <a:lvl9pPr marL="0" indent="0" algn="l" defTabSz="914377" rtl="0" eaLnBrk="1" latinLnBrk="0" hangingPunct="1">
              <a:lnSpc>
                <a:spcPct val="95000"/>
              </a:lnSpc>
              <a:spcBef>
                <a:spcPts val="800"/>
              </a:spcBef>
              <a:buFont typeface="Arial" panose="020B0604020202020204" pitchFamily="34" charset="0"/>
              <a:buNone/>
              <a:defRPr sz="1800" kern="1200">
                <a:solidFill>
                  <a:schemeClr val="tx1"/>
                </a:solidFill>
                <a:latin typeface="+mj-lt"/>
                <a:ea typeface="+mn-ea"/>
                <a:cs typeface="+mn-cs"/>
              </a:defRPr>
            </a:lvl9pPr>
          </a:lstStyle>
          <a:p>
            <a:r>
              <a:rPr lang="fr-FR" sz="800"/>
              <a:t>LIFE SCIENCES - Conférence Annuelle – 07 juin 2022</a:t>
            </a:r>
            <a:endParaRPr lang="en-GB" dirty="0"/>
          </a:p>
        </p:txBody>
      </p:sp>
    </p:spTree>
    <p:extLst>
      <p:ext uri="{BB962C8B-B14F-4D97-AF65-F5344CB8AC3E}">
        <p14:creationId xmlns:p14="http://schemas.microsoft.com/office/powerpoint/2010/main" val="23258290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76D42E7-90A9-4C42-BA18-599573630272}"/>
              </a:ext>
            </a:extLst>
          </p:cNvPr>
          <p:cNvSpPr>
            <a:spLocks noGrp="1"/>
          </p:cNvSpPr>
          <p:nvPr>
            <p:ph type="title"/>
          </p:nvPr>
        </p:nvSpPr>
        <p:spPr/>
        <p:txBody>
          <a:bodyPr/>
          <a:lstStyle/>
          <a:p>
            <a:r>
              <a:rPr lang="fr-FR" dirty="0"/>
              <a:t>Directive 2004/48/CE </a:t>
            </a:r>
          </a:p>
        </p:txBody>
      </p:sp>
      <p:pic>
        <p:nvPicPr>
          <p:cNvPr id="24" name="Picture Placeholder 23">
            <a:extLst>
              <a:ext uri="{FF2B5EF4-FFF2-40B4-BE49-F238E27FC236}">
                <a16:creationId xmlns:a16="http://schemas.microsoft.com/office/drawing/2014/main" id="{FB5AA57B-12C7-460B-A850-DC2779D1D8F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8665" r="18665"/>
          <a:stretch>
            <a:fillRect/>
          </a:stretch>
        </p:blipFill>
        <p:spPr/>
      </p:pic>
      <p:sp>
        <p:nvSpPr>
          <p:cNvPr id="5" name="Footer Placeholder 2">
            <a:extLst>
              <a:ext uri="{FF2B5EF4-FFF2-40B4-BE49-F238E27FC236}">
                <a16:creationId xmlns:a16="http://schemas.microsoft.com/office/drawing/2014/main" id="{56A17A40-FB21-4080-997D-D45A4260B337}"/>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678484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6D77DA-4F51-4B23-B16D-9AEF3E109B8F}"/>
              </a:ext>
            </a:extLst>
          </p:cNvPr>
          <p:cNvSpPr>
            <a:spLocks noGrp="1"/>
          </p:cNvSpPr>
          <p:nvPr>
            <p:ph type="title"/>
          </p:nvPr>
        </p:nvSpPr>
        <p:spPr>
          <a:xfrm>
            <a:off x="719135" y="612129"/>
            <a:ext cx="10907932" cy="720000"/>
          </a:xfrm>
        </p:spPr>
        <p:txBody>
          <a:bodyPr/>
          <a:lstStyle/>
          <a:p>
            <a:r>
              <a:rPr lang="fr-FR" sz="3100" dirty="0"/>
              <a:t>Directive 2004/48/CE </a:t>
            </a:r>
            <a:br>
              <a:rPr lang="fr-FR" sz="3100" dirty="0"/>
            </a:br>
            <a:endParaRPr lang="en-GB" sz="3100" dirty="0"/>
          </a:p>
        </p:txBody>
      </p:sp>
      <p:sp>
        <p:nvSpPr>
          <p:cNvPr id="25" name="Content Placeholder 5">
            <a:extLst>
              <a:ext uri="{FF2B5EF4-FFF2-40B4-BE49-F238E27FC236}">
                <a16:creationId xmlns:a16="http://schemas.microsoft.com/office/drawing/2014/main" id="{3B0EDF3F-2D95-4DCE-BD46-3FA2E9503DB4}"/>
              </a:ext>
            </a:extLst>
          </p:cNvPr>
          <p:cNvSpPr txBox="1">
            <a:spLocks/>
          </p:cNvSpPr>
          <p:nvPr/>
        </p:nvSpPr>
        <p:spPr>
          <a:xfrm>
            <a:off x="719135" y="2054341"/>
            <a:ext cx="10435148" cy="3090111"/>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algn="just">
              <a:lnSpc>
                <a:spcPct val="150000"/>
              </a:lnSpc>
            </a:pPr>
            <a:r>
              <a:rPr lang="fr-FR" b="1" dirty="0">
                <a:latin typeface="+mj-lt"/>
              </a:rPr>
              <a:t>Article 9 </a:t>
            </a:r>
            <a:r>
              <a:rPr lang="fr-FR" dirty="0">
                <a:latin typeface="+mj-lt"/>
              </a:rPr>
              <a:t>: </a:t>
            </a:r>
          </a:p>
          <a:p>
            <a:pPr algn="just">
              <a:lnSpc>
                <a:spcPct val="150000"/>
              </a:lnSpc>
            </a:pPr>
            <a:r>
              <a:rPr lang="fr-FR" dirty="0">
                <a:latin typeface="+mj-lt"/>
              </a:rPr>
              <a:t>"1. </a:t>
            </a:r>
            <a:r>
              <a:rPr lang="fr-FR" i="1" dirty="0">
                <a:latin typeface="+mj-lt"/>
              </a:rPr>
              <a:t>Les États membres veillent à ce que les autorités judiciaires compétentes puissent à la demande du requérant: </a:t>
            </a:r>
          </a:p>
          <a:p>
            <a:pPr algn="just">
              <a:lnSpc>
                <a:spcPct val="150000"/>
              </a:lnSpc>
            </a:pPr>
            <a:r>
              <a:rPr lang="fr-FR" i="1" dirty="0">
                <a:latin typeface="+mj-lt"/>
              </a:rPr>
              <a:t>a) rendre à l’encontre du contrevenant supposé une </a:t>
            </a:r>
            <a:r>
              <a:rPr lang="fr-FR" b="1" i="1" dirty="0">
                <a:latin typeface="+mj-lt"/>
              </a:rPr>
              <a:t>ordonnance de référé</a:t>
            </a:r>
            <a:r>
              <a:rPr lang="fr-FR" i="1" dirty="0">
                <a:latin typeface="+mj-lt"/>
              </a:rPr>
              <a:t> visant à prévenir toute atteinte imminente à un droit de propriété intellectuelle, </a:t>
            </a:r>
            <a:r>
              <a:rPr lang="fr-FR" b="1" i="1" dirty="0">
                <a:latin typeface="+mj-lt"/>
              </a:rPr>
              <a:t>à interdire, à titre provisoire</a:t>
            </a:r>
            <a:r>
              <a:rPr lang="fr-FR" i="1" dirty="0">
                <a:latin typeface="+mj-lt"/>
              </a:rPr>
              <a:t> et sous réserve, le cas échéant, du paiement d’une astreinte lorsque la législation nationale le prévoit, que les atteintes présumées à ce droit se poursuivent, ou à subordonner leur poursuite à la constitution de garanties destinées à assurer l’indemnisation du droit".</a:t>
            </a:r>
          </a:p>
          <a:p>
            <a:pPr marL="285750" indent="-285750" algn="just">
              <a:buFontTx/>
              <a:buChar char="-"/>
            </a:pPr>
            <a:endParaRPr lang="en-GB" dirty="0"/>
          </a:p>
        </p:txBody>
      </p:sp>
      <p:sp>
        <p:nvSpPr>
          <p:cNvPr id="27" name="Subtitle 3">
            <a:extLst>
              <a:ext uri="{FF2B5EF4-FFF2-40B4-BE49-F238E27FC236}">
                <a16:creationId xmlns:a16="http://schemas.microsoft.com/office/drawing/2014/main" id="{8E227101-078D-4F0F-81A2-B402EAEC9B9C}"/>
              </a:ext>
            </a:extLst>
          </p:cNvPr>
          <p:cNvSpPr txBox="1">
            <a:spLocks/>
          </p:cNvSpPr>
          <p:nvPr/>
        </p:nvSpPr>
        <p:spPr>
          <a:xfrm>
            <a:off x="719134" y="1040640"/>
            <a:ext cx="9774235" cy="389216"/>
          </a:xfrm>
          <a:prstGeom prst="rect">
            <a:avLst/>
          </a:prstGeom>
        </p:spPr>
        <p:txBody>
          <a:bodyPr vert="horz" lIns="0" tIns="0" rIns="0" bIns="0" rtlCol="0">
            <a:noAutofit/>
          </a:bodyPr>
          <a:lstStyle>
            <a:lvl1pPr marL="0" indent="0" algn="l" defTabSz="914377" rtl="0" eaLnBrk="1" latinLnBrk="0" hangingPunct="1">
              <a:lnSpc>
                <a:spcPct val="100000"/>
              </a:lnSpc>
              <a:spcBef>
                <a:spcPts val="0"/>
              </a:spcBef>
              <a:buFont typeface="Arial" panose="020B0604020202020204" pitchFamily="34" charset="0"/>
              <a:buNone/>
              <a:defRPr sz="2400" i="1" kern="1200">
                <a:solidFill>
                  <a:schemeClr val="tx2"/>
                </a:solidFill>
                <a:latin typeface="+mj-lt"/>
                <a:ea typeface="+mn-ea"/>
                <a:cs typeface="+mn-cs"/>
              </a:defRPr>
            </a:lvl1pPr>
            <a:lvl2pPr marL="0" indent="0" algn="l" defTabSz="914377" rtl="0" eaLnBrk="1" latinLnBrk="0" hangingPunct="1">
              <a:lnSpc>
                <a:spcPct val="100000"/>
              </a:lnSpc>
              <a:spcBef>
                <a:spcPts val="0"/>
              </a:spcBef>
              <a:buClr>
                <a:schemeClr val="tx2"/>
              </a:buClr>
              <a:buFont typeface="Symbol" panose="05050102010706020507" pitchFamily="18" charset="2"/>
              <a:buNone/>
              <a:defRPr sz="2400" i="1" kern="1200">
                <a:solidFill>
                  <a:schemeClr val="tx1"/>
                </a:solidFill>
                <a:latin typeface="+mj-lt"/>
                <a:ea typeface="+mn-ea"/>
                <a:cs typeface="+mn-cs"/>
              </a:defRPr>
            </a:lvl2pPr>
            <a:lvl3pPr marL="0" indent="0" algn="l" defTabSz="914377" rtl="0" eaLnBrk="1" latinLnBrk="0" hangingPunct="1">
              <a:lnSpc>
                <a:spcPct val="100000"/>
              </a:lnSpc>
              <a:spcBef>
                <a:spcPts val="0"/>
              </a:spcBef>
              <a:buClr>
                <a:schemeClr val="tx2"/>
              </a:buClr>
              <a:buFont typeface="Arial" panose="020B0604020202020204" pitchFamily="34" charset="0"/>
              <a:buNone/>
              <a:defRPr sz="2400" i="1" kern="1200">
                <a:solidFill>
                  <a:schemeClr val="bg1"/>
                </a:solidFill>
                <a:latin typeface="+mj-lt"/>
                <a:ea typeface="+mn-ea"/>
                <a:cs typeface="+mn-cs"/>
              </a:defRPr>
            </a:lvl3pPr>
            <a:lvl4pPr marL="0" indent="0" algn="l" defTabSz="914377" rtl="0" eaLnBrk="1" latinLnBrk="0" hangingPunct="1">
              <a:lnSpc>
                <a:spcPct val="100000"/>
              </a:lnSpc>
              <a:spcBef>
                <a:spcPts val="0"/>
              </a:spcBef>
              <a:buClr>
                <a:schemeClr val="tx2"/>
              </a:buClr>
              <a:buFont typeface="Arial" panose="020B0604020202020204" pitchFamily="34" charset="0"/>
              <a:buNone/>
              <a:defRPr sz="2000" i="1" kern="1200">
                <a:solidFill>
                  <a:srgbClr val="005C83"/>
                </a:solidFill>
                <a:latin typeface="+mj-lt"/>
                <a:ea typeface="+mn-ea"/>
                <a:cs typeface="+mn-cs"/>
              </a:defRPr>
            </a:lvl4pPr>
            <a:lvl5pPr marL="0" indent="0" algn="l" defTabSz="914377" rtl="0" eaLnBrk="1" latinLnBrk="0" hangingPunct="1">
              <a:lnSpc>
                <a:spcPct val="100000"/>
              </a:lnSpc>
              <a:spcBef>
                <a:spcPts val="0"/>
              </a:spcBef>
              <a:buClr>
                <a:schemeClr val="tx2"/>
              </a:buClr>
              <a:buFont typeface="+mj-lt"/>
              <a:buNone/>
              <a:defRPr sz="2000" i="1" kern="1200">
                <a:solidFill>
                  <a:schemeClr val="tx1"/>
                </a:solidFill>
                <a:latin typeface="+mj-lt"/>
                <a:ea typeface="+mn-ea"/>
                <a:cs typeface="+mn-cs"/>
              </a:defRPr>
            </a:lvl5pPr>
            <a:lvl6pPr marL="0" indent="0" algn="l" defTabSz="914377" rtl="0" eaLnBrk="1" latinLnBrk="0" hangingPunct="1">
              <a:lnSpc>
                <a:spcPct val="100000"/>
              </a:lnSpc>
              <a:spcBef>
                <a:spcPts val="0"/>
              </a:spcBef>
              <a:buClr>
                <a:schemeClr val="tx2"/>
              </a:buClr>
              <a:buFont typeface="+mj-lt"/>
              <a:buNone/>
              <a:defRPr sz="2000" i="1" kern="1200">
                <a:solidFill>
                  <a:schemeClr val="bg1"/>
                </a:solidFill>
                <a:latin typeface="+mj-lt"/>
                <a:ea typeface="+mn-ea"/>
                <a:cs typeface="+mn-cs"/>
              </a:defRPr>
            </a:lvl6pPr>
            <a:lvl7pPr marL="0" indent="0" algn="l" defTabSz="914377" rtl="0" eaLnBrk="1" latinLnBrk="0" hangingPunct="1">
              <a:lnSpc>
                <a:spcPct val="100000"/>
              </a:lnSpc>
              <a:spcBef>
                <a:spcPts val="0"/>
              </a:spcBef>
              <a:buFontTx/>
              <a:buNone/>
              <a:defRPr sz="1800" i="1" kern="1200">
                <a:solidFill>
                  <a:schemeClr val="tx2"/>
                </a:solidFill>
                <a:latin typeface="+mj-lt"/>
                <a:ea typeface="+mn-ea"/>
                <a:cs typeface="+mn-cs"/>
              </a:defRPr>
            </a:lvl7pPr>
            <a:lvl8pPr marL="0" indent="0" algn="l" defTabSz="914377" rtl="0" eaLnBrk="1" latinLnBrk="0" hangingPunct="1">
              <a:lnSpc>
                <a:spcPct val="100000"/>
              </a:lnSpc>
              <a:spcBef>
                <a:spcPts val="0"/>
              </a:spcBef>
              <a:buFont typeface="Arial" panose="020B0604020202020204" pitchFamily="34" charset="0"/>
              <a:buNone/>
              <a:defRPr sz="1800" i="1" kern="1200">
                <a:solidFill>
                  <a:schemeClr val="tx1"/>
                </a:solidFill>
                <a:latin typeface="+mj-lt"/>
                <a:ea typeface="+mn-ea"/>
                <a:cs typeface="+mn-cs"/>
              </a:defRPr>
            </a:lvl8pPr>
            <a:lvl9pPr marL="0" indent="0" algn="l" defTabSz="914377" rtl="0" eaLnBrk="1" latinLnBrk="0" hangingPunct="1">
              <a:lnSpc>
                <a:spcPct val="100000"/>
              </a:lnSpc>
              <a:spcBef>
                <a:spcPts val="0"/>
              </a:spcBef>
              <a:buFont typeface="Arial" panose="020B0604020202020204" pitchFamily="34" charset="0"/>
              <a:buNone/>
              <a:defRPr sz="1800" i="1" kern="1200">
                <a:solidFill>
                  <a:schemeClr val="bg1"/>
                </a:solidFill>
                <a:latin typeface="+mj-lt"/>
                <a:ea typeface="+mn-ea"/>
                <a:cs typeface="+mn-cs"/>
              </a:defRPr>
            </a:lvl9pPr>
          </a:lstStyle>
          <a:p>
            <a:r>
              <a:rPr lang="fr-FR" sz="2400" dirty="0"/>
              <a:t>Interdictions provisoires – fondements textuels</a:t>
            </a:r>
            <a:endParaRPr lang="en-GB" dirty="0"/>
          </a:p>
        </p:txBody>
      </p:sp>
      <p:sp>
        <p:nvSpPr>
          <p:cNvPr id="6" name="Footer Placeholder 2">
            <a:extLst>
              <a:ext uri="{FF2B5EF4-FFF2-40B4-BE49-F238E27FC236}">
                <a16:creationId xmlns:a16="http://schemas.microsoft.com/office/drawing/2014/main" id="{FD291A26-11EB-4D0E-BAEA-B8D4E31D793F}"/>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747177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a:extLst>
              <a:ext uri="{FF2B5EF4-FFF2-40B4-BE49-F238E27FC236}">
                <a16:creationId xmlns:a16="http://schemas.microsoft.com/office/drawing/2014/main" id="{FB5AA57B-12C7-460B-A850-DC2779D1D8F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8665" r="18665"/>
          <a:stretch>
            <a:fillRect/>
          </a:stretch>
        </p:blipFill>
        <p:spPr/>
      </p:pic>
      <p:sp>
        <p:nvSpPr>
          <p:cNvPr id="5" name="Subtitle 9">
            <a:extLst>
              <a:ext uri="{FF2B5EF4-FFF2-40B4-BE49-F238E27FC236}">
                <a16:creationId xmlns:a16="http://schemas.microsoft.com/office/drawing/2014/main" id="{333411A3-AEC1-4E44-B465-88FB3106F79A}"/>
              </a:ext>
            </a:extLst>
          </p:cNvPr>
          <p:cNvSpPr>
            <a:spLocks noGrp="1"/>
          </p:cNvSpPr>
          <p:nvPr>
            <p:ph type="subTitle" idx="12"/>
          </p:nvPr>
        </p:nvSpPr>
        <p:spPr>
          <a:xfrm>
            <a:off x="719138" y="1522189"/>
            <a:ext cx="4801736" cy="524325"/>
          </a:xfrm>
        </p:spPr>
        <p:txBody>
          <a:bodyPr/>
          <a:lstStyle/>
          <a:p>
            <a:r>
              <a:rPr lang="fr-FR" sz="2000" dirty="0"/>
              <a:t>CJUE, 28 avril 2022, affaire C‑44/21</a:t>
            </a:r>
            <a:endParaRPr lang="en-GB" sz="2000" dirty="0"/>
          </a:p>
          <a:p>
            <a:endParaRPr lang="en-GB" dirty="0"/>
          </a:p>
        </p:txBody>
      </p:sp>
      <p:sp>
        <p:nvSpPr>
          <p:cNvPr id="6" name="Title 8">
            <a:extLst>
              <a:ext uri="{FF2B5EF4-FFF2-40B4-BE49-F238E27FC236}">
                <a16:creationId xmlns:a16="http://schemas.microsoft.com/office/drawing/2014/main" id="{A30B7EEB-3321-4F06-8AD6-19C17CD5460D}"/>
              </a:ext>
            </a:extLst>
          </p:cNvPr>
          <p:cNvSpPr>
            <a:spLocks noGrp="1"/>
          </p:cNvSpPr>
          <p:nvPr>
            <p:ph type="title"/>
          </p:nvPr>
        </p:nvSpPr>
        <p:spPr>
          <a:xfrm>
            <a:off x="719138" y="666745"/>
            <a:ext cx="7577138" cy="720000"/>
          </a:xfrm>
        </p:spPr>
        <p:txBody>
          <a:bodyPr/>
          <a:lstStyle/>
          <a:p>
            <a:r>
              <a:rPr lang="fr-FR" sz="2800" dirty="0"/>
              <a:t>Phoenix Contact GmbH &amp; Co. KG c. HARTING Deutschland GmbH &amp; Co. KG</a:t>
            </a:r>
            <a:endParaRPr lang="en-GB" sz="2800" dirty="0"/>
          </a:p>
        </p:txBody>
      </p:sp>
      <p:sp>
        <p:nvSpPr>
          <p:cNvPr id="8" name="Footer Placeholder 2">
            <a:extLst>
              <a:ext uri="{FF2B5EF4-FFF2-40B4-BE49-F238E27FC236}">
                <a16:creationId xmlns:a16="http://schemas.microsoft.com/office/drawing/2014/main" id="{767CB5C5-B6B8-41C4-8D5C-09698FBA0EA8}"/>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1243903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B37EBE3-911F-487E-930B-6AE247C62A83}"/>
              </a:ext>
            </a:extLst>
          </p:cNvPr>
          <p:cNvSpPr>
            <a:spLocks noGrp="1"/>
          </p:cNvSpPr>
          <p:nvPr>
            <p:ph idx="1"/>
          </p:nvPr>
        </p:nvSpPr>
        <p:spPr>
          <a:xfrm>
            <a:off x="719138" y="1253606"/>
            <a:ext cx="10140452" cy="4929480"/>
          </a:xfrm>
        </p:spPr>
        <p:txBody>
          <a:bodyPr/>
          <a:lstStyle/>
          <a:p>
            <a:pPr lvl="1" algn="just">
              <a:lnSpc>
                <a:spcPct val="150000"/>
              </a:lnSpc>
            </a:pPr>
            <a:r>
              <a:rPr lang="fr-FR" dirty="0">
                <a:latin typeface="+mj-lt"/>
              </a:rPr>
              <a:t>Question préjudicielle du tribunal régional de Munich</a:t>
            </a:r>
          </a:p>
          <a:p>
            <a:pPr algn="just">
              <a:lnSpc>
                <a:spcPct val="150000"/>
              </a:lnSpc>
            </a:pPr>
            <a:r>
              <a:rPr lang="fr-FR" b="1" dirty="0">
                <a:latin typeface="+mj-lt"/>
              </a:rPr>
              <a:t>2 cas </a:t>
            </a:r>
            <a:r>
              <a:rPr lang="fr-FR" dirty="0">
                <a:latin typeface="+mj-lt"/>
              </a:rPr>
              <a:t>où les mesures provisoires peuvent être ordonnées selon les juges allemands :</a:t>
            </a:r>
          </a:p>
          <a:p>
            <a:pPr marL="714375" lvl="1" indent="-285750" algn="just">
              <a:lnSpc>
                <a:spcPct val="150000"/>
              </a:lnSpc>
              <a:buFont typeface="Wingdings" panose="05000000000000000000" pitchFamily="2" charset="2"/>
              <a:buChar char="Ø"/>
            </a:pPr>
            <a:r>
              <a:rPr lang="fr-FR" sz="1400" dirty="0">
                <a:latin typeface="+mj-lt"/>
              </a:rPr>
              <a:t> </a:t>
            </a:r>
            <a:r>
              <a:rPr lang="fr-FR" sz="1400" b="1" dirty="0">
                <a:latin typeface="+mj-lt"/>
              </a:rPr>
              <a:t>Décision de l’OEB</a:t>
            </a:r>
            <a:r>
              <a:rPr lang="fr-FR" sz="1400" dirty="0">
                <a:latin typeface="+mj-lt"/>
              </a:rPr>
              <a:t> dans le cadre d’une </a:t>
            </a:r>
            <a:r>
              <a:rPr lang="fr-FR" sz="1400" b="1" dirty="0">
                <a:latin typeface="+mj-lt"/>
              </a:rPr>
              <a:t>procédure d’opposition,</a:t>
            </a:r>
          </a:p>
          <a:p>
            <a:pPr marL="714375" lvl="1" indent="-285750" algn="just">
              <a:lnSpc>
                <a:spcPct val="150000"/>
              </a:lnSpc>
              <a:buFont typeface="Wingdings" panose="05000000000000000000" pitchFamily="2" charset="2"/>
              <a:buChar char="Ø"/>
            </a:pPr>
            <a:r>
              <a:rPr lang="fr-FR" sz="1400" b="1" dirty="0">
                <a:latin typeface="+mj-lt"/>
              </a:rPr>
              <a:t>Décision du </a:t>
            </a:r>
            <a:r>
              <a:rPr lang="fr-FR" sz="1400" b="1" dirty="0" err="1">
                <a:latin typeface="+mj-lt"/>
              </a:rPr>
              <a:t>Bundespatentgericht</a:t>
            </a:r>
            <a:r>
              <a:rPr lang="fr-FR" sz="1400" b="1" dirty="0">
                <a:latin typeface="+mj-lt"/>
              </a:rPr>
              <a:t> </a:t>
            </a:r>
            <a:r>
              <a:rPr lang="fr-FR" sz="1400" dirty="0">
                <a:latin typeface="+mj-lt"/>
              </a:rPr>
              <a:t>(Cour fédérale des brevets, Allemagne), dans le cadre d’une </a:t>
            </a:r>
            <a:r>
              <a:rPr lang="fr-FR" sz="1400" b="1" dirty="0">
                <a:latin typeface="+mj-lt"/>
              </a:rPr>
              <a:t>procédure de nullité.</a:t>
            </a:r>
          </a:p>
          <a:p>
            <a:pPr marL="0" lvl="1" indent="0" algn="just">
              <a:lnSpc>
                <a:spcPct val="150000"/>
              </a:lnSpc>
              <a:spcBef>
                <a:spcPts val="600"/>
              </a:spcBef>
              <a:buNone/>
            </a:pPr>
            <a:r>
              <a:rPr lang="fr-FR" dirty="0">
                <a:latin typeface="+mj-lt"/>
              </a:rPr>
              <a:t>Contestation contradictoire du brevet préalable nécessaire</a:t>
            </a:r>
          </a:p>
          <a:p>
            <a:pPr marL="0" lvl="1" indent="0" algn="just">
              <a:lnSpc>
                <a:spcPct val="150000"/>
              </a:lnSpc>
              <a:spcBef>
                <a:spcPts val="600"/>
              </a:spcBef>
              <a:buNone/>
            </a:pPr>
            <a:endParaRPr lang="fr-FR" dirty="0">
              <a:latin typeface="+mj-lt"/>
            </a:endParaRPr>
          </a:p>
          <a:p>
            <a:pPr lvl="1" algn="just">
              <a:lnSpc>
                <a:spcPct val="150000"/>
              </a:lnSpc>
              <a:spcBef>
                <a:spcPts val="600"/>
              </a:spcBef>
            </a:pPr>
            <a:r>
              <a:rPr lang="fr-FR" b="1" u="sng" dirty="0">
                <a:latin typeface="+mj-lt"/>
              </a:rPr>
              <a:t>La question préjudicielle </a:t>
            </a:r>
            <a:r>
              <a:rPr lang="en-GB" dirty="0">
                <a:latin typeface="+mj-lt"/>
              </a:rPr>
              <a:t>: </a:t>
            </a:r>
            <a:r>
              <a:rPr lang="fr-FR" dirty="0">
                <a:latin typeface="+mj-lt"/>
              </a:rPr>
              <a:t>« </a:t>
            </a:r>
            <a:r>
              <a:rPr lang="fr-FR" i="1" dirty="0">
                <a:latin typeface="+mj-lt"/>
              </a:rPr>
              <a:t>La jurisprudence des Oberlandesgerichte (tribunaux régionaux supérieurs, Allemagne) compétents pour statuer en dernier ressort en matière de référé, selon laquelle les </a:t>
            </a:r>
            <a:r>
              <a:rPr lang="fr-FR" b="1" i="1" dirty="0">
                <a:latin typeface="+mj-lt"/>
              </a:rPr>
              <a:t>demandes en référé </a:t>
            </a:r>
            <a:r>
              <a:rPr lang="fr-FR" i="1" dirty="0">
                <a:latin typeface="+mj-lt"/>
              </a:rPr>
              <a:t>pour contrefaçon de brevet doivent, en principe, </a:t>
            </a:r>
            <a:r>
              <a:rPr lang="fr-FR" b="1" i="1" dirty="0">
                <a:latin typeface="+mj-lt"/>
              </a:rPr>
              <a:t>être rejetées lorsque la validité du brevet n’a pas été confirmée </a:t>
            </a:r>
            <a:r>
              <a:rPr lang="fr-FR" i="1" dirty="0">
                <a:latin typeface="+mj-lt"/>
              </a:rPr>
              <a:t>par une décision de première instance rendue à l’issue d’une procédure d’opposition ou d’annulation, est-elle compatible avec l’article 9, paragraphe 1, de la Directive [2004/48] ? </a:t>
            </a:r>
            <a:r>
              <a:rPr lang="fr-FR" dirty="0">
                <a:latin typeface="+mj-lt"/>
              </a:rPr>
              <a:t>»</a:t>
            </a:r>
          </a:p>
          <a:p>
            <a:pPr algn="just">
              <a:lnSpc>
                <a:spcPct val="150000"/>
              </a:lnSpc>
            </a:pPr>
            <a:endParaRPr lang="fr-FR" dirty="0">
              <a:latin typeface="+mj-lt"/>
            </a:endParaRPr>
          </a:p>
          <a:p>
            <a:pPr algn="just">
              <a:lnSpc>
                <a:spcPct val="150000"/>
              </a:lnSpc>
            </a:pPr>
            <a:endParaRPr lang="fr-FR" dirty="0">
              <a:latin typeface="+mj-lt"/>
            </a:endParaRPr>
          </a:p>
        </p:txBody>
      </p:sp>
      <p:sp>
        <p:nvSpPr>
          <p:cNvPr id="5" name="Subtitle 4">
            <a:extLst>
              <a:ext uri="{FF2B5EF4-FFF2-40B4-BE49-F238E27FC236}">
                <a16:creationId xmlns:a16="http://schemas.microsoft.com/office/drawing/2014/main" id="{46C97570-C4F5-44EA-B71A-DF833BD26E0B}"/>
              </a:ext>
            </a:extLst>
          </p:cNvPr>
          <p:cNvSpPr>
            <a:spLocks noGrp="1"/>
          </p:cNvSpPr>
          <p:nvPr>
            <p:ph type="subTitle" idx="12"/>
          </p:nvPr>
        </p:nvSpPr>
        <p:spPr>
          <a:xfrm>
            <a:off x="719137" y="838792"/>
            <a:ext cx="9840913" cy="377790"/>
          </a:xfrm>
        </p:spPr>
        <p:txBody>
          <a:bodyPr/>
          <a:lstStyle/>
          <a:p>
            <a:r>
              <a:rPr lang="fr-FR" sz="2000" dirty="0"/>
              <a:t>CJUE, 28 avril 2022, affaire C‑44/21</a:t>
            </a:r>
            <a:endParaRPr lang="en-GB" sz="2000" dirty="0"/>
          </a:p>
        </p:txBody>
      </p:sp>
      <p:sp>
        <p:nvSpPr>
          <p:cNvPr id="6" name="Title 5">
            <a:extLst>
              <a:ext uri="{FF2B5EF4-FFF2-40B4-BE49-F238E27FC236}">
                <a16:creationId xmlns:a16="http://schemas.microsoft.com/office/drawing/2014/main" id="{9C9809C2-8663-4973-837F-E318C0F4206C}"/>
              </a:ext>
            </a:extLst>
          </p:cNvPr>
          <p:cNvSpPr>
            <a:spLocks noGrp="1"/>
          </p:cNvSpPr>
          <p:nvPr>
            <p:ph type="title"/>
          </p:nvPr>
        </p:nvSpPr>
        <p:spPr>
          <a:xfrm>
            <a:off x="719138" y="414196"/>
            <a:ext cx="10262898" cy="456661"/>
          </a:xfrm>
        </p:spPr>
        <p:txBody>
          <a:bodyPr/>
          <a:lstStyle/>
          <a:p>
            <a:r>
              <a:rPr lang="fr-FR" sz="2800" dirty="0"/>
              <a:t>Phoenix Contact GmbH &amp; Co. KG c. HARTING Deutschland</a:t>
            </a:r>
            <a:endParaRPr lang="en-GB" sz="2800" dirty="0"/>
          </a:p>
        </p:txBody>
      </p:sp>
      <p:sp>
        <p:nvSpPr>
          <p:cNvPr id="8" name="Footer Placeholder 2">
            <a:extLst>
              <a:ext uri="{FF2B5EF4-FFF2-40B4-BE49-F238E27FC236}">
                <a16:creationId xmlns:a16="http://schemas.microsoft.com/office/drawing/2014/main" id="{0B57E0F6-FE11-4EEA-8DB6-27A8B6FCFEF4}"/>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3065689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4">
            <a:extLst>
              <a:ext uri="{FF2B5EF4-FFF2-40B4-BE49-F238E27FC236}">
                <a16:creationId xmlns:a16="http://schemas.microsoft.com/office/drawing/2014/main" id="{2ABA243A-BEF1-47A5-800E-EAE0A56F7F2B}"/>
              </a:ext>
            </a:extLst>
          </p:cNvPr>
          <p:cNvSpPr>
            <a:spLocks noGrp="1"/>
          </p:cNvSpPr>
          <p:nvPr>
            <p:ph type="body" sz="quarter" idx="11"/>
          </p:nvPr>
        </p:nvSpPr>
        <p:spPr/>
        <p:txBody>
          <a:bodyPr/>
          <a:lstStyle/>
          <a:p>
            <a:pPr lvl="1" algn="just">
              <a:lnSpc>
                <a:spcPct val="150000"/>
              </a:lnSpc>
            </a:pPr>
            <a:r>
              <a:rPr lang="fr-FR" dirty="0">
                <a:latin typeface="+mj-lt"/>
              </a:rPr>
              <a:t>"</a:t>
            </a:r>
            <a:r>
              <a:rPr lang="fr-FR" i="1" dirty="0">
                <a:latin typeface="+mj-lt"/>
              </a:rPr>
              <a:t>L’article 9, paragraphe 1, de la directive 2004/48/CE, doit être interprété en ce sens qu’il </a:t>
            </a:r>
            <a:r>
              <a:rPr lang="fr-FR" b="1" i="1" dirty="0">
                <a:latin typeface="+mj-lt"/>
              </a:rPr>
              <a:t>s’oppose à une jurisprudence nationale </a:t>
            </a:r>
            <a:r>
              <a:rPr lang="fr-FR" i="1" dirty="0">
                <a:latin typeface="+mj-lt"/>
              </a:rPr>
              <a:t>en vertu de laquelle les demandes en référé pour contrefaçon de brevet doivent, en principe, être rejetées, lorsque la validité du brevet en cause n’a pas été confirmée, à tout le moins, par une décision de première instance rendue à l’issue d’une procédure d’opposition ou de nullité.</a:t>
            </a:r>
            <a:r>
              <a:rPr lang="fr-FR" dirty="0">
                <a:latin typeface="+mj-lt"/>
              </a:rPr>
              <a:t>"</a:t>
            </a:r>
          </a:p>
          <a:p>
            <a:pPr algn="just">
              <a:lnSpc>
                <a:spcPct val="150000"/>
              </a:lnSpc>
            </a:pPr>
            <a:endParaRPr lang="fr-FR" dirty="0">
              <a:latin typeface="+mj-lt"/>
            </a:endParaRPr>
          </a:p>
          <a:p>
            <a:endParaRPr lang="en-GB" sz="1800" dirty="0"/>
          </a:p>
        </p:txBody>
      </p:sp>
      <p:sp>
        <p:nvSpPr>
          <p:cNvPr id="5" name="Text Placeholder 4">
            <a:extLst>
              <a:ext uri="{FF2B5EF4-FFF2-40B4-BE49-F238E27FC236}">
                <a16:creationId xmlns:a16="http://schemas.microsoft.com/office/drawing/2014/main" id="{9121E35A-4787-4455-AE63-DB503E4D4759}"/>
              </a:ext>
            </a:extLst>
          </p:cNvPr>
          <p:cNvSpPr>
            <a:spLocks noGrp="1"/>
          </p:cNvSpPr>
          <p:nvPr>
            <p:ph type="body" sz="quarter" idx="23"/>
          </p:nvPr>
        </p:nvSpPr>
        <p:spPr/>
        <p:txBody>
          <a:bodyPr/>
          <a:lstStyle/>
          <a:p>
            <a:endParaRPr lang="fr-FR"/>
          </a:p>
        </p:txBody>
      </p:sp>
      <p:sp>
        <p:nvSpPr>
          <p:cNvPr id="13" name="Content Placeholder 3">
            <a:extLst>
              <a:ext uri="{FF2B5EF4-FFF2-40B4-BE49-F238E27FC236}">
                <a16:creationId xmlns:a16="http://schemas.microsoft.com/office/drawing/2014/main" id="{F10BE31B-B1E9-4E78-AC43-D3D4D6E328AD}"/>
              </a:ext>
            </a:extLst>
          </p:cNvPr>
          <p:cNvSpPr txBox="1">
            <a:spLocks/>
          </p:cNvSpPr>
          <p:nvPr/>
        </p:nvSpPr>
        <p:spPr>
          <a:xfrm>
            <a:off x="662530" y="1390754"/>
            <a:ext cx="10223184" cy="1518942"/>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algn="just">
              <a:lnSpc>
                <a:spcPct val="150000"/>
              </a:lnSpc>
            </a:pPr>
            <a:endParaRPr lang="fr-FR" dirty="0">
              <a:latin typeface="+mj-lt"/>
            </a:endParaRPr>
          </a:p>
        </p:txBody>
      </p:sp>
      <p:sp>
        <p:nvSpPr>
          <p:cNvPr id="14" name="Content Placeholder 3">
            <a:extLst>
              <a:ext uri="{FF2B5EF4-FFF2-40B4-BE49-F238E27FC236}">
                <a16:creationId xmlns:a16="http://schemas.microsoft.com/office/drawing/2014/main" id="{A75E0FF2-A552-4EF6-8658-948D2E998097}"/>
              </a:ext>
            </a:extLst>
          </p:cNvPr>
          <p:cNvSpPr txBox="1">
            <a:spLocks/>
          </p:cNvSpPr>
          <p:nvPr/>
        </p:nvSpPr>
        <p:spPr>
          <a:xfrm>
            <a:off x="719138" y="3665276"/>
            <a:ext cx="9304428" cy="2179760"/>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algn="just">
              <a:lnSpc>
                <a:spcPct val="150000"/>
              </a:lnSpc>
            </a:pPr>
            <a:endParaRPr lang="fr-FR" dirty="0">
              <a:latin typeface="+mj-lt"/>
            </a:endParaRPr>
          </a:p>
          <a:p>
            <a:pPr algn="just">
              <a:lnSpc>
                <a:spcPct val="150000"/>
              </a:lnSpc>
            </a:pPr>
            <a:endParaRPr lang="fr-FR" dirty="0">
              <a:latin typeface="+mj-lt"/>
            </a:endParaRPr>
          </a:p>
        </p:txBody>
      </p:sp>
      <p:sp>
        <p:nvSpPr>
          <p:cNvPr id="15" name="Content Placeholder 3">
            <a:extLst>
              <a:ext uri="{FF2B5EF4-FFF2-40B4-BE49-F238E27FC236}">
                <a16:creationId xmlns:a16="http://schemas.microsoft.com/office/drawing/2014/main" id="{4B26A212-33FF-4E42-BE0D-5CAE23CCF465}"/>
              </a:ext>
            </a:extLst>
          </p:cNvPr>
          <p:cNvSpPr txBox="1">
            <a:spLocks/>
          </p:cNvSpPr>
          <p:nvPr/>
        </p:nvSpPr>
        <p:spPr>
          <a:xfrm>
            <a:off x="6804106" y="1012964"/>
            <a:ext cx="4292601" cy="2903829"/>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465750" lvl="1" indent="-285750" algn="just">
              <a:lnSpc>
                <a:spcPct val="150000"/>
              </a:lnSpc>
              <a:buFont typeface="Wingdings" panose="05000000000000000000" pitchFamily="2" charset="2"/>
              <a:buChar char="Ø"/>
            </a:pPr>
            <a:endParaRPr lang="fr-FR" sz="1400" dirty="0">
              <a:latin typeface="+mj-lt"/>
            </a:endParaRPr>
          </a:p>
        </p:txBody>
      </p:sp>
      <p:sp>
        <p:nvSpPr>
          <p:cNvPr id="16" name="Subtitle 4">
            <a:extLst>
              <a:ext uri="{FF2B5EF4-FFF2-40B4-BE49-F238E27FC236}">
                <a16:creationId xmlns:a16="http://schemas.microsoft.com/office/drawing/2014/main" id="{9731A8EF-DEDD-4AA9-95F1-E65CE1033382}"/>
              </a:ext>
            </a:extLst>
          </p:cNvPr>
          <p:cNvSpPr txBox="1">
            <a:spLocks/>
          </p:cNvSpPr>
          <p:nvPr/>
        </p:nvSpPr>
        <p:spPr>
          <a:xfrm>
            <a:off x="719137" y="838792"/>
            <a:ext cx="9840913" cy="377790"/>
          </a:xfrm>
          <a:prstGeom prst="rect">
            <a:avLst/>
          </a:prstGeom>
        </p:spPr>
        <p:txBody>
          <a:bodyPr vert="horz" lIns="72000" tIns="0" rIns="0" bIns="0" rtlCol="0" anchor="b" anchorCtr="0">
            <a:noAutofit/>
          </a:bodyPr>
          <a:lstStyle>
            <a:defPPr>
              <a:defRPr lang="en-US"/>
            </a:defPPr>
            <a:lvl1pPr marL="0" indent="0" algn="l" defTabSz="914377" rtl="0" eaLnBrk="1" latinLnBrk="0" hangingPunct="1">
              <a:lnSpc>
                <a:spcPct val="95000"/>
              </a:lnSpc>
              <a:spcBef>
                <a:spcPts val="800"/>
              </a:spcBef>
              <a:buFont typeface="Arial" panose="020B0604020202020204" pitchFamily="34" charset="0"/>
              <a:buNone/>
              <a:defRPr sz="8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fr-FR" sz="2000" b="0" i="1" u="none" strike="noStrike" kern="1200" cap="none" spc="0" normalizeH="0" baseline="0" noProof="0" dirty="0">
                <a:ln>
                  <a:noFill/>
                </a:ln>
                <a:solidFill>
                  <a:srgbClr val="005C82"/>
                </a:solidFill>
                <a:effectLst/>
                <a:uLnTx/>
                <a:uFillTx/>
                <a:latin typeface="Georgia"/>
                <a:ea typeface="+mn-ea"/>
                <a:cs typeface="+mn-cs"/>
              </a:rPr>
              <a:t>CJUE, 28 avril 2022, affaire C‑44/21</a:t>
            </a:r>
            <a:endParaRPr kumimoji="0" lang="en-GB" sz="2000" b="0" i="1" u="none" strike="noStrike" kern="1200" cap="none" spc="0" normalizeH="0" baseline="0" noProof="0" dirty="0">
              <a:ln>
                <a:noFill/>
              </a:ln>
              <a:solidFill>
                <a:srgbClr val="005C82"/>
              </a:solidFill>
              <a:effectLst/>
              <a:uLnTx/>
              <a:uFillTx/>
              <a:latin typeface="Georgia"/>
              <a:ea typeface="+mn-ea"/>
              <a:cs typeface="+mn-cs"/>
            </a:endParaRPr>
          </a:p>
        </p:txBody>
      </p:sp>
      <p:sp>
        <p:nvSpPr>
          <p:cNvPr id="17" name="Title 5">
            <a:extLst>
              <a:ext uri="{FF2B5EF4-FFF2-40B4-BE49-F238E27FC236}">
                <a16:creationId xmlns:a16="http://schemas.microsoft.com/office/drawing/2014/main" id="{F900E478-C5DB-4CF7-84F5-CAECF2E89AD6}"/>
              </a:ext>
            </a:extLst>
          </p:cNvPr>
          <p:cNvSpPr txBox="1">
            <a:spLocks/>
          </p:cNvSpPr>
          <p:nvPr/>
        </p:nvSpPr>
        <p:spPr>
          <a:xfrm>
            <a:off x="719138" y="414196"/>
            <a:ext cx="10262898" cy="456661"/>
          </a:xfrm>
          <a:prstGeom prst="rect">
            <a:avLst/>
          </a:prstGeom>
        </p:spPr>
        <p:txBody>
          <a:bodyPr/>
          <a:lst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a:lstStyle>
          <a:p>
            <a:pPr>
              <a:buFontTx/>
            </a:pPr>
            <a:r>
              <a:rPr lang="fr-FR" sz="2800"/>
              <a:t>Phoenix Contact GmbH &amp; Co. KG c. HARTING Deutschland</a:t>
            </a:r>
            <a:endParaRPr lang="en-GB" sz="2800" dirty="0"/>
          </a:p>
        </p:txBody>
      </p:sp>
      <p:sp>
        <p:nvSpPr>
          <p:cNvPr id="18" name="Footer Placeholder 2">
            <a:extLst>
              <a:ext uri="{FF2B5EF4-FFF2-40B4-BE49-F238E27FC236}">
                <a16:creationId xmlns:a16="http://schemas.microsoft.com/office/drawing/2014/main" id="{1901EE0C-5FAC-4D48-907B-3B1F33A0CD90}"/>
              </a:ext>
            </a:extLst>
          </p:cNvPr>
          <p:cNvSpPr txBox="1">
            <a:spLocks/>
          </p:cNvSpPr>
          <p:nvPr/>
        </p:nvSpPr>
        <p:spPr>
          <a:xfrm>
            <a:off x="7096125" y="6393422"/>
            <a:ext cx="4058158" cy="144000"/>
          </a:xfrm>
          <a:prstGeom prst="rect">
            <a:avLst/>
          </a:prstGeom>
        </p:spPr>
        <p:txBody>
          <a:bodyPr vert="horz" lIns="0" tIns="0" rIns="0" bIns="0" rtlCol="0">
            <a:normAutofit/>
          </a:bodyPr>
          <a:lstStyle>
            <a:lvl1pPr marL="0" indent="0" algn="l" defTabSz="914377" rtl="0" eaLnBrk="1" latinLnBrk="0" hangingPunct="1">
              <a:lnSpc>
                <a:spcPct val="95000"/>
              </a:lnSpc>
              <a:spcBef>
                <a:spcPts val="800"/>
              </a:spcBef>
              <a:buFont typeface="Arial" panose="020B0604020202020204" pitchFamily="34" charset="0"/>
              <a:buNone/>
              <a:defRPr sz="3600" kern="1200">
                <a:solidFill>
                  <a:schemeClr val="tx1"/>
                </a:solidFill>
                <a:latin typeface="+mj-lt"/>
                <a:ea typeface="+mn-ea"/>
                <a:cs typeface="+mn-cs"/>
              </a:defRPr>
            </a:lvl1pPr>
            <a:lvl2pPr marL="0" indent="0" algn="l" defTabSz="914377" rtl="0" eaLnBrk="1" latinLnBrk="0" hangingPunct="1">
              <a:lnSpc>
                <a:spcPct val="95000"/>
              </a:lnSpc>
              <a:spcBef>
                <a:spcPts val="1800"/>
              </a:spcBef>
              <a:buClr>
                <a:schemeClr val="tx2"/>
              </a:buClr>
              <a:buFont typeface="Symbol" panose="05050102010706020507" pitchFamily="18" charset="2"/>
              <a:buNone/>
              <a:defRPr sz="1600" i="1" kern="1200">
                <a:solidFill>
                  <a:schemeClr val="tx1"/>
                </a:solidFill>
                <a:latin typeface="+mj-lt"/>
                <a:ea typeface="+mn-ea"/>
                <a:cs typeface="+mn-cs"/>
              </a:defRPr>
            </a:lvl2pPr>
            <a:lvl3pPr marL="0" indent="0" algn="l" defTabSz="914377" rtl="0" eaLnBrk="1" latinLnBrk="0" hangingPunct="1">
              <a:lnSpc>
                <a:spcPct val="95000"/>
              </a:lnSpc>
              <a:spcBef>
                <a:spcPts val="800"/>
              </a:spcBef>
              <a:buClr>
                <a:schemeClr val="tx2"/>
              </a:buClr>
              <a:buFont typeface="Arial" panose="020B0604020202020204" pitchFamily="34" charset="0"/>
              <a:buNone/>
              <a:defRPr sz="1000" kern="1200">
                <a:solidFill>
                  <a:schemeClr val="tx1"/>
                </a:solidFill>
                <a:latin typeface="+mn-lt"/>
                <a:ea typeface="+mn-ea"/>
                <a:cs typeface="+mn-cs"/>
              </a:defRPr>
            </a:lvl3pPr>
            <a:lvl4pPr marL="0" indent="0" algn="l" defTabSz="914377" rtl="0" eaLnBrk="1" latinLnBrk="0" hangingPunct="1">
              <a:lnSpc>
                <a:spcPct val="95000"/>
              </a:lnSpc>
              <a:spcBef>
                <a:spcPts val="800"/>
              </a:spcBef>
              <a:buClr>
                <a:schemeClr val="tx2"/>
              </a:buClr>
              <a:buFont typeface="Arial" panose="020B0604020202020204" pitchFamily="34" charset="0"/>
              <a:buNone/>
              <a:defRPr sz="2800" kern="1200">
                <a:solidFill>
                  <a:schemeClr val="tx1"/>
                </a:solidFill>
                <a:latin typeface="+mj-lt"/>
                <a:ea typeface="+mn-ea"/>
                <a:cs typeface="+mn-cs"/>
              </a:defRPr>
            </a:lvl4pPr>
            <a:lvl5pPr marL="0" indent="0" algn="l" defTabSz="914377" rtl="0" eaLnBrk="1" latinLnBrk="0" hangingPunct="1">
              <a:lnSpc>
                <a:spcPct val="95000"/>
              </a:lnSpc>
              <a:spcBef>
                <a:spcPts val="800"/>
              </a:spcBef>
              <a:buClr>
                <a:schemeClr val="tx2"/>
              </a:buClr>
              <a:buFont typeface="Arial" panose="020B0604020202020204" pitchFamily="34" charset="0"/>
              <a:buNone/>
              <a:defRPr sz="2400" kern="1200">
                <a:solidFill>
                  <a:schemeClr val="tx1"/>
                </a:solidFill>
                <a:latin typeface="+mj-lt"/>
                <a:ea typeface="+mn-ea"/>
                <a:cs typeface="+mn-cs"/>
              </a:defRPr>
            </a:lvl5pPr>
            <a:lvl6pPr marL="0" indent="0" algn="l" defTabSz="914377" rtl="0" eaLnBrk="1" latinLnBrk="0" hangingPunct="1">
              <a:lnSpc>
                <a:spcPct val="95000"/>
              </a:lnSpc>
              <a:spcBef>
                <a:spcPts val="800"/>
              </a:spcBef>
              <a:buClr>
                <a:schemeClr val="tx2"/>
              </a:buClr>
              <a:buFont typeface="Arial" panose="020B0604020202020204" pitchFamily="34" charset="0"/>
              <a:buNone/>
              <a:defRPr sz="2000" kern="1200">
                <a:solidFill>
                  <a:schemeClr val="tx1"/>
                </a:solidFill>
                <a:latin typeface="+mj-lt"/>
                <a:ea typeface="+mn-ea"/>
                <a:cs typeface="+mn-cs"/>
              </a:defRPr>
            </a:lvl6pPr>
            <a:lvl7pPr marL="0" indent="0" algn="l" defTabSz="914377" rtl="0" eaLnBrk="1" latinLnBrk="0" hangingPunct="1">
              <a:lnSpc>
                <a:spcPct val="95000"/>
              </a:lnSpc>
              <a:spcBef>
                <a:spcPts val="800"/>
              </a:spcBef>
              <a:buFontTx/>
              <a:buNone/>
              <a:defRPr sz="2000" kern="1200">
                <a:solidFill>
                  <a:schemeClr val="tx1"/>
                </a:solidFill>
                <a:latin typeface="+mj-lt"/>
                <a:ea typeface="+mn-ea"/>
                <a:cs typeface="+mn-cs"/>
              </a:defRPr>
            </a:lvl7pPr>
            <a:lvl8pPr marL="0" indent="0" algn="l" defTabSz="914377" rtl="0" eaLnBrk="1" latinLnBrk="0" hangingPunct="1">
              <a:lnSpc>
                <a:spcPct val="95000"/>
              </a:lnSpc>
              <a:spcBef>
                <a:spcPts val="800"/>
              </a:spcBef>
              <a:buFont typeface="Arial" panose="020B0604020202020204" pitchFamily="34" charset="0"/>
              <a:buNone/>
              <a:defRPr lang="en-GB" sz="1800" kern="1200" dirty="0" smtClean="0">
                <a:solidFill>
                  <a:schemeClr val="tx1"/>
                </a:solidFill>
                <a:latin typeface="+mj-lt"/>
                <a:ea typeface="+mn-ea"/>
                <a:cs typeface="+mn-cs"/>
              </a:defRPr>
            </a:lvl8pPr>
            <a:lvl9pPr marL="0" indent="0" algn="l" defTabSz="914377" rtl="0" eaLnBrk="1" latinLnBrk="0" hangingPunct="1">
              <a:lnSpc>
                <a:spcPct val="95000"/>
              </a:lnSpc>
              <a:spcBef>
                <a:spcPts val="800"/>
              </a:spcBef>
              <a:buFont typeface="Arial" panose="020B0604020202020204" pitchFamily="34" charset="0"/>
              <a:buNone/>
              <a:defRPr sz="1800" kern="1200">
                <a:solidFill>
                  <a:schemeClr val="tx1"/>
                </a:solidFill>
                <a:latin typeface="+mj-lt"/>
                <a:ea typeface="+mn-ea"/>
                <a:cs typeface="+mn-cs"/>
              </a:defRPr>
            </a:lvl9pPr>
          </a:lstStyle>
          <a:p>
            <a:r>
              <a:rPr lang="fr-FR" sz="800"/>
              <a:t>LIFE SCIENCES - Conférence Annuelle – 07 juin 2022</a:t>
            </a:r>
            <a:endParaRPr lang="en-GB" dirty="0"/>
          </a:p>
        </p:txBody>
      </p:sp>
    </p:spTree>
    <p:extLst>
      <p:ext uri="{BB962C8B-B14F-4D97-AF65-F5344CB8AC3E}">
        <p14:creationId xmlns:p14="http://schemas.microsoft.com/office/powerpoint/2010/main" val="12449196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5">
            <a:extLst>
              <a:ext uri="{FF2B5EF4-FFF2-40B4-BE49-F238E27FC236}">
                <a16:creationId xmlns:a16="http://schemas.microsoft.com/office/drawing/2014/main" id="{3B0EDF3F-2D95-4DCE-BD46-3FA2E9503DB4}"/>
              </a:ext>
            </a:extLst>
          </p:cNvPr>
          <p:cNvSpPr txBox="1">
            <a:spLocks/>
          </p:cNvSpPr>
          <p:nvPr/>
        </p:nvSpPr>
        <p:spPr>
          <a:xfrm>
            <a:off x="752475" y="1705091"/>
            <a:ext cx="9774235" cy="3090111"/>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465750" lvl="1" indent="-285750" algn="just">
              <a:lnSpc>
                <a:spcPct val="150000"/>
              </a:lnSpc>
              <a:buFont typeface="Wingdings" panose="05000000000000000000" pitchFamily="2" charset="2"/>
              <a:buChar char="Ø"/>
            </a:pPr>
            <a:r>
              <a:rPr lang="fr-FR" sz="1600" dirty="0">
                <a:latin typeface="+mj-lt"/>
              </a:rPr>
              <a:t>le droit communautaire applicable </a:t>
            </a:r>
            <a:r>
              <a:rPr lang="fr-FR" sz="1600" b="1" u="sng" dirty="0">
                <a:latin typeface="+mj-lt"/>
              </a:rPr>
              <a:t>n'exige pas</a:t>
            </a:r>
            <a:r>
              <a:rPr lang="fr-FR" sz="1600" dirty="0">
                <a:latin typeface="+mj-lt"/>
              </a:rPr>
              <a:t> que le brevet ait survécu à une opposition ou une action en nullité comme condition préalable à l'obtention de mesures provisoires.</a:t>
            </a:r>
          </a:p>
          <a:p>
            <a:pPr marL="465750" lvl="1" indent="-285750" algn="just">
              <a:lnSpc>
                <a:spcPct val="150000"/>
              </a:lnSpc>
              <a:buFont typeface="Wingdings" panose="05000000000000000000" pitchFamily="2" charset="2"/>
              <a:buChar char="Ø"/>
            </a:pPr>
            <a:r>
              <a:rPr lang="fr-FR" sz="1600" dirty="0">
                <a:latin typeface="+mj-lt"/>
              </a:rPr>
              <a:t>Les juridictions civiles peuvent </a:t>
            </a:r>
            <a:r>
              <a:rPr lang="fr-FR" sz="1600" b="1" dirty="0">
                <a:latin typeface="+mj-lt"/>
              </a:rPr>
              <a:t>ordonner des mesures provisoires </a:t>
            </a:r>
            <a:r>
              <a:rPr lang="fr-FR" sz="1600" dirty="0">
                <a:latin typeface="+mj-lt"/>
              </a:rPr>
              <a:t>même si la validité du brevet en cause </a:t>
            </a:r>
            <a:r>
              <a:rPr lang="fr-FR" sz="1600" b="1" dirty="0">
                <a:latin typeface="+mj-lt"/>
              </a:rPr>
              <a:t>n'a pas encore été confirmée dans une procédure d'opposition ou de nullité en première instance</a:t>
            </a:r>
            <a:r>
              <a:rPr lang="fr-FR" sz="1600" dirty="0">
                <a:latin typeface="+mj-lt"/>
              </a:rPr>
              <a:t>. </a:t>
            </a:r>
          </a:p>
          <a:p>
            <a:pPr marL="465750" lvl="1" indent="-285750" algn="just">
              <a:lnSpc>
                <a:spcPct val="150000"/>
              </a:lnSpc>
              <a:buFont typeface="Wingdings" panose="05000000000000000000" pitchFamily="2" charset="2"/>
              <a:buChar char="Ø"/>
            </a:pPr>
            <a:r>
              <a:rPr lang="fr-FR" sz="1600" dirty="0">
                <a:latin typeface="+mj-lt"/>
              </a:rPr>
              <a:t>Les brevets européens jouissent d'une </a:t>
            </a:r>
            <a:r>
              <a:rPr lang="fr-FR" sz="1600" b="1" dirty="0">
                <a:latin typeface="+mj-lt"/>
              </a:rPr>
              <a:t>présomption de validité </a:t>
            </a:r>
            <a:r>
              <a:rPr lang="fr-FR" sz="1600" dirty="0">
                <a:latin typeface="+mj-lt"/>
              </a:rPr>
              <a:t>à compter de la date de publication de leur délivrance et bénéficient ainsi pleinement de la protection accordée, par la directive 2004/48/CE.</a:t>
            </a:r>
          </a:p>
          <a:p>
            <a:pPr marL="285750" indent="-285750" algn="just">
              <a:buFontTx/>
              <a:buChar char="-"/>
            </a:pPr>
            <a:endParaRPr lang="en-GB" dirty="0"/>
          </a:p>
        </p:txBody>
      </p:sp>
      <p:sp>
        <p:nvSpPr>
          <p:cNvPr id="10" name="Subtitle 4">
            <a:extLst>
              <a:ext uri="{FF2B5EF4-FFF2-40B4-BE49-F238E27FC236}">
                <a16:creationId xmlns:a16="http://schemas.microsoft.com/office/drawing/2014/main" id="{F41BDADA-6E47-4716-99F6-1C56645AD955}"/>
              </a:ext>
            </a:extLst>
          </p:cNvPr>
          <p:cNvSpPr>
            <a:spLocks noGrp="1"/>
          </p:cNvSpPr>
          <p:nvPr>
            <p:ph type="subTitle" idx="12"/>
          </p:nvPr>
        </p:nvSpPr>
        <p:spPr>
          <a:xfrm>
            <a:off x="719137" y="838792"/>
            <a:ext cx="9840913" cy="377790"/>
          </a:xfrm>
        </p:spPr>
        <p:txBody>
          <a:bodyPr/>
          <a:lstStyle/>
          <a:p>
            <a:r>
              <a:rPr lang="fr-FR" sz="2000" dirty="0"/>
              <a:t>CJUE, 28 avril 2022, affaire C‑44/21</a:t>
            </a:r>
            <a:endParaRPr lang="en-GB" sz="2000" dirty="0"/>
          </a:p>
        </p:txBody>
      </p:sp>
      <p:sp>
        <p:nvSpPr>
          <p:cNvPr id="11" name="Title 5">
            <a:extLst>
              <a:ext uri="{FF2B5EF4-FFF2-40B4-BE49-F238E27FC236}">
                <a16:creationId xmlns:a16="http://schemas.microsoft.com/office/drawing/2014/main" id="{27A79E84-AEA5-4956-88F5-B939D19BA1D1}"/>
              </a:ext>
            </a:extLst>
          </p:cNvPr>
          <p:cNvSpPr>
            <a:spLocks noGrp="1"/>
          </p:cNvSpPr>
          <p:nvPr>
            <p:ph type="title"/>
          </p:nvPr>
        </p:nvSpPr>
        <p:spPr>
          <a:xfrm>
            <a:off x="719138" y="414196"/>
            <a:ext cx="10262898" cy="456661"/>
          </a:xfrm>
        </p:spPr>
        <p:txBody>
          <a:bodyPr/>
          <a:lstStyle/>
          <a:p>
            <a:r>
              <a:rPr lang="fr-FR" sz="2800" dirty="0"/>
              <a:t>Phoenix Contact GmbH &amp; Co. KG c. HARTING Deutschland</a:t>
            </a:r>
            <a:endParaRPr lang="en-GB" sz="2800" dirty="0"/>
          </a:p>
        </p:txBody>
      </p:sp>
      <p:sp>
        <p:nvSpPr>
          <p:cNvPr id="12" name="Footer Placeholder 2">
            <a:extLst>
              <a:ext uri="{FF2B5EF4-FFF2-40B4-BE49-F238E27FC236}">
                <a16:creationId xmlns:a16="http://schemas.microsoft.com/office/drawing/2014/main" id="{E6542602-1409-45C9-AEA2-34C4282AD231}"/>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8536188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76D42E7-90A9-4C42-BA18-599573630272}"/>
              </a:ext>
            </a:extLst>
          </p:cNvPr>
          <p:cNvSpPr>
            <a:spLocks noGrp="1"/>
          </p:cNvSpPr>
          <p:nvPr>
            <p:ph type="title"/>
          </p:nvPr>
        </p:nvSpPr>
        <p:spPr/>
        <p:txBody>
          <a:bodyPr/>
          <a:lstStyle/>
          <a:p>
            <a:r>
              <a:rPr lang="fr-FR" sz="4000" dirty="0"/>
              <a:t>Les interdictions provisoires devant la JUB</a:t>
            </a:r>
            <a:endParaRPr lang="fr-FR" dirty="0"/>
          </a:p>
        </p:txBody>
      </p:sp>
      <p:pic>
        <p:nvPicPr>
          <p:cNvPr id="24" name="Picture Placeholder 23">
            <a:extLst>
              <a:ext uri="{FF2B5EF4-FFF2-40B4-BE49-F238E27FC236}">
                <a16:creationId xmlns:a16="http://schemas.microsoft.com/office/drawing/2014/main" id="{FB5AA57B-12C7-460B-A850-DC2779D1D8F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8665" r="18665"/>
          <a:stretch>
            <a:fillRect/>
          </a:stretch>
        </p:blipFill>
        <p:spPr/>
      </p:pic>
      <p:sp>
        <p:nvSpPr>
          <p:cNvPr id="5" name="Footer Placeholder 2">
            <a:extLst>
              <a:ext uri="{FF2B5EF4-FFF2-40B4-BE49-F238E27FC236}">
                <a16:creationId xmlns:a16="http://schemas.microsoft.com/office/drawing/2014/main" id="{11A04730-A2FF-422F-960F-AE3882FAE03F}"/>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4003073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38C5FA-B014-4339-9570-0D08C80A2A26}"/>
              </a:ext>
            </a:extLst>
          </p:cNvPr>
          <p:cNvSpPr>
            <a:spLocks noGrp="1"/>
          </p:cNvSpPr>
          <p:nvPr>
            <p:ph type="body" sz="quarter" idx="10"/>
          </p:nvPr>
        </p:nvSpPr>
        <p:spPr/>
        <p:txBody>
          <a:bodyPr/>
          <a:lstStyle/>
          <a:p>
            <a:r>
              <a:rPr lang="fr-FR" dirty="0"/>
              <a:t>1</a:t>
            </a:r>
          </a:p>
        </p:txBody>
      </p:sp>
      <p:sp>
        <p:nvSpPr>
          <p:cNvPr id="5" name="Title 4">
            <a:extLst>
              <a:ext uri="{FF2B5EF4-FFF2-40B4-BE49-F238E27FC236}">
                <a16:creationId xmlns:a16="http://schemas.microsoft.com/office/drawing/2014/main" id="{7A9350C1-069C-48F5-9168-A12067379782}"/>
              </a:ext>
            </a:extLst>
          </p:cNvPr>
          <p:cNvSpPr>
            <a:spLocks noGrp="1"/>
          </p:cNvSpPr>
          <p:nvPr>
            <p:ph type="title"/>
          </p:nvPr>
        </p:nvSpPr>
        <p:spPr>
          <a:xfrm>
            <a:off x="809625" y="2993407"/>
            <a:ext cx="5286375" cy="1512000"/>
          </a:xfrm>
        </p:spPr>
        <p:txBody>
          <a:bodyPr/>
          <a:lstStyle/>
          <a:p>
            <a:r>
              <a:rPr lang="fr-BE" dirty="0"/>
              <a:t>Les droits sur l'invention</a:t>
            </a:r>
          </a:p>
        </p:txBody>
      </p:sp>
    </p:spTree>
    <p:extLst>
      <p:ext uri="{BB962C8B-B14F-4D97-AF65-F5344CB8AC3E}">
        <p14:creationId xmlns:p14="http://schemas.microsoft.com/office/powerpoint/2010/main" val="3549361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4">
            <a:extLst>
              <a:ext uri="{FF2B5EF4-FFF2-40B4-BE49-F238E27FC236}">
                <a16:creationId xmlns:a16="http://schemas.microsoft.com/office/drawing/2014/main" id="{ADA9D8D7-CFA2-477B-98B1-A06F888C6B05}"/>
              </a:ext>
            </a:extLst>
          </p:cNvPr>
          <p:cNvSpPr txBox="1">
            <a:spLocks/>
          </p:cNvSpPr>
          <p:nvPr/>
        </p:nvSpPr>
        <p:spPr>
          <a:xfrm>
            <a:off x="862011" y="1386748"/>
            <a:ext cx="11025190" cy="4747352"/>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lgn="just">
              <a:lnSpc>
                <a:spcPct val="150000"/>
              </a:lnSpc>
              <a:spcBef>
                <a:spcPts val="1200"/>
              </a:spcBef>
            </a:pPr>
            <a:r>
              <a:rPr lang="fr-FR" sz="1400" b="1" dirty="0">
                <a:latin typeface="+mj-lt"/>
              </a:rPr>
              <a:t>Article 32  : </a:t>
            </a:r>
            <a:r>
              <a:rPr lang="fr-FR" sz="1400" dirty="0">
                <a:latin typeface="+mj-lt"/>
              </a:rPr>
              <a:t>"</a:t>
            </a:r>
            <a:r>
              <a:rPr lang="fr-FR" sz="1400" i="1" dirty="0">
                <a:latin typeface="+mj-lt"/>
              </a:rPr>
              <a:t>La Juridiction [JUB] a une </a:t>
            </a:r>
            <a:r>
              <a:rPr lang="fr-FR" sz="1400" b="1" i="1" dirty="0">
                <a:solidFill>
                  <a:srgbClr val="FFA169"/>
                </a:solidFill>
                <a:latin typeface="+mj-lt"/>
              </a:rPr>
              <a:t>compétence exclusive </a:t>
            </a:r>
            <a:r>
              <a:rPr lang="fr-FR" sz="1400" i="1" dirty="0">
                <a:latin typeface="+mj-lt"/>
              </a:rPr>
              <a:t>pour : </a:t>
            </a:r>
          </a:p>
          <a:p>
            <a:pPr marL="522900" lvl="1" indent="-342900" algn="just">
              <a:lnSpc>
                <a:spcPct val="150000"/>
              </a:lnSpc>
              <a:buFont typeface="+mj-lt"/>
              <a:buAutoNum type="alphaLcParenR" startAt="3"/>
            </a:pPr>
            <a:r>
              <a:rPr lang="fr-FR" sz="1400" i="1" dirty="0">
                <a:latin typeface="+mj-lt"/>
              </a:rPr>
              <a:t>les actions visant à obtenir des </a:t>
            </a:r>
            <a:r>
              <a:rPr lang="fr-FR" sz="1400" b="1" i="1" dirty="0">
                <a:solidFill>
                  <a:srgbClr val="FFA169"/>
                </a:solidFill>
                <a:latin typeface="+mj-lt"/>
              </a:rPr>
              <a:t>mesures provisoires et conservatoires </a:t>
            </a:r>
            <a:r>
              <a:rPr lang="fr-FR" sz="1400" b="1" i="1" dirty="0">
                <a:solidFill>
                  <a:schemeClr val="accent6"/>
                </a:solidFill>
                <a:latin typeface="+mj-lt"/>
              </a:rPr>
              <a:t>et des injonctions </a:t>
            </a:r>
            <a:r>
              <a:rPr lang="fr-FR" sz="1400" i="1" dirty="0">
                <a:latin typeface="+mj-lt"/>
              </a:rPr>
              <a:t>;</a:t>
            </a:r>
            <a:r>
              <a:rPr lang="fr-FR" sz="1400" dirty="0">
                <a:latin typeface="+mj-lt"/>
              </a:rPr>
              <a:t> "</a:t>
            </a:r>
          </a:p>
          <a:p>
            <a:pPr algn="just">
              <a:lnSpc>
                <a:spcPct val="150000"/>
              </a:lnSpc>
            </a:pPr>
            <a:endParaRPr lang="fr-FR" sz="700" dirty="0">
              <a:latin typeface="+mj-lt"/>
            </a:endParaRPr>
          </a:p>
          <a:p>
            <a:pPr lvl="1" algn="just">
              <a:lnSpc>
                <a:spcPct val="150000"/>
              </a:lnSpc>
              <a:spcBef>
                <a:spcPts val="0"/>
              </a:spcBef>
            </a:pPr>
            <a:r>
              <a:rPr lang="fr-FR" sz="1400" b="1" dirty="0">
                <a:latin typeface="+mj-lt"/>
              </a:rPr>
              <a:t>Article 62</a:t>
            </a:r>
          </a:p>
          <a:p>
            <a:pPr marL="522900" lvl="1" indent="-342900" algn="just">
              <a:lnSpc>
                <a:spcPct val="150000"/>
              </a:lnSpc>
              <a:buFont typeface="Symbol" panose="05050102010706020507" pitchFamily="18" charset="2"/>
              <a:buAutoNum type="arabicPeriod"/>
            </a:pPr>
            <a:r>
              <a:rPr lang="fr-FR" sz="1400" i="1" dirty="0">
                <a:latin typeface="+mj-lt"/>
              </a:rPr>
              <a:t>"La Juridiction peut, </a:t>
            </a:r>
            <a:r>
              <a:rPr lang="fr-FR" sz="1400" b="1" i="1" dirty="0">
                <a:latin typeface="+mj-lt"/>
              </a:rPr>
              <a:t>par voie d'ordonnance</a:t>
            </a:r>
            <a:r>
              <a:rPr lang="fr-FR" sz="1400" i="1" dirty="0">
                <a:latin typeface="+mj-lt"/>
              </a:rPr>
              <a:t>, prononcer </a:t>
            </a:r>
            <a:r>
              <a:rPr lang="fr-FR" sz="1400" b="1" i="1" dirty="0">
                <a:latin typeface="+mj-lt"/>
              </a:rPr>
              <a:t>des injonctions à l'encontre du contrefacteur supposé </a:t>
            </a:r>
            <a:r>
              <a:rPr lang="fr-FR" sz="1400" i="1" dirty="0">
                <a:latin typeface="+mj-lt"/>
              </a:rPr>
              <a:t>ou d'un intermédiaire dont les services sont utilisés par le contrefacteur supposé, visant à prévenir toute contrefaçon imminente, à </a:t>
            </a:r>
            <a:r>
              <a:rPr lang="fr-FR" sz="1400" b="1" i="1" dirty="0">
                <a:latin typeface="+mj-lt"/>
              </a:rPr>
              <a:t>interdire, à titre provisoire </a:t>
            </a:r>
            <a:r>
              <a:rPr lang="fr-FR" sz="1400" i="1" dirty="0">
                <a:latin typeface="+mj-lt"/>
              </a:rPr>
              <a:t>et sous réserve, le cas échéant, du paiement d'une astreinte, que la contrefaçon présumée se poursuive, ou à subordonner sa poursuite à la constitution de garanties destinées à assurer l'indemnisation du titulaire du droit. </a:t>
            </a:r>
          </a:p>
          <a:p>
            <a:pPr marL="522900" lvl="1" indent="-342900" algn="just">
              <a:lnSpc>
                <a:spcPct val="150000"/>
              </a:lnSpc>
              <a:buFont typeface="Symbol" panose="05050102010706020507" pitchFamily="18" charset="2"/>
              <a:buAutoNum type="arabicPeriod"/>
            </a:pPr>
            <a:r>
              <a:rPr lang="fr-FR" sz="1400" i="1" dirty="0">
                <a:latin typeface="+mj-lt"/>
              </a:rPr>
              <a:t> </a:t>
            </a:r>
            <a:r>
              <a:rPr lang="fr-FR" sz="1400" b="1" i="1" dirty="0">
                <a:latin typeface="+mj-lt"/>
              </a:rPr>
              <a:t>La Juridiction dispose d'un pouvoir d'appréciation pour mettre en </a:t>
            </a:r>
            <a:r>
              <a:rPr lang="fr-FR" sz="1400" b="1" i="1" dirty="0">
                <a:solidFill>
                  <a:schemeClr val="accent6"/>
                </a:solidFill>
                <a:latin typeface="+mj-lt"/>
              </a:rPr>
              <a:t>balance les intérêts des parties </a:t>
            </a:r>
            <a:r>
              <a:rPr lang="fr-FR" sz="1400" i="1" dirty="0">
                <a:latin typeface="+mj-lt"/>
              </a:rPr>
              <a:t>et, notamment, </a:t>
            </a:r>
            <a:r>
              <a:rPr lang="fr-FR" sz="1400" b="1" i="1" dirty="0">
                <a:latin typeface="+mj-lt"/>
              </a:rPr>
              <a:t>tenir compte des </a:t>
            </a:r>
            <a:r>
              <a:rPr lang="fr-FR" sz="1400" b="1" i="1" dirty="0">
                <a:solidFill>
                  <a:schemeClr val="accent6"/>
                </a:solidFill>
                <a:latin typeface="+mj-lt"/>
              </a:rPr>
              <a:t>effets préjudiciables </a:t>
            </a:r>
            <a:r>
              <a:rPr lang="fr-FR" sz="1400" b="1" i="1" dirty="0">
                <a:latin typeface="+mj-lt"/>
              </a:rPr>
              <a:t>éventuels pour l'une ou l'autre des parties</a:t>
            </a:r>
            <a:r>
              <a:rPr lang="fr-FR" sz="1400" i="1" dirty="0">
                <a:latin typeface="+mj-lt"/>
              </a:rPr>
              <a:t> résultant de sa décision de prononcer ou non l'injonction en question."</a:t>
            </a:r>
          </a:p>
          <a:p>
            <a:pPr marL="1003300" indent="-285750">
              <a:lnSpc>
                <a:spcPct val="150000"/>
              </a:lnSpc>
              <a:spcBef>
                <a:spcPts val="0"/>
              </a:spcBef>
              <a:buFont typeface="Wingdings" panose="05000000000000000000" pitchFamily="2" charset="2"/>
              <a:buChar char="à"/>
            </a:pPr>
            <a:r>
              <a:rPr lang="fr-FR" sz="1400" dirty="0">
                <a:latin typeface="+mj-lt"/>
              </a:rPr>
              <a:t>Implémente l'article 9(1)(a) Directive 2004/48/CE</a:t>
            </a:r>
          </a:p>
          <a:p>
            <a:pPr marL="1003300" indent="-285750">
              <a:lnSpc>
                <a:spcPct val="150000"/>
              </a:lnSpc>
              <a:spcBef>
                <a:spcPts val="0"/>
              </a:spcBef>
              <a:buFont typeface="Wingdings" panose="05000000000000000000" pitchFamily="2" charset="2"/>
              <a:buChar char="à"/>
            </a:pPr>
            <a:r>
              <a:rPr lang="fr-FR" sz="1400" dirty="0">
                <a:latin typeface="+mj-lt"/>
              </a:rPr>
              <a:t>Primauté et respect du droit de l'Union (Art. 20/24 UPCA) / Les décisions de la CJEU sont contraignantes pour la JUB (Art. 21 UPCA)</a:t>
            </a:r>
          </a:p>
        </p:txBody>
      </p:sp>
      <p:sp>
        <p:nvSpPr>
          <p:cNvPr id="15" name="Subtitle 5">
            <a:extLst>
              <a:ext uri="{FF2B5EF4-FFF2-40B4-BE49-F238E27FC236}">
                <a16:creationId xmlns:a16="http://schemas.microsoft.com/office/drawing/2014/main" id="{9AE83C6F-6BB7-4C25-AA51-07AA93543493}"/>
              </a:ext>
            </a:extLst>
          </p:cNvPr>
          <p:cNvSpPr>
            <a:spLocks noGrp="1"/>
          </p:cNvSpPr>
          <p:nvPr>
            <p:ph type="subTitle" idx="12"/>
          </p:nvPr>
        </p:nvSpPr>
        <p:spPr>
          <a:xfrm>
            <a:off x="719135" y="1006814"/>
            <a:ext cx="7596189" cy="377790"/>
          </a:xfrm>
        </p:spPr>
        <p:txBody>
          <a:bodyPr/>
          <a:lstStyle/>
          <a:p>
            <a:r>
              <a:rPr lang="fr-FR" dirty="0"/>
              <a:t>Cadre juridique – Accords JUB</a:t>
            </a:r>
            <a:endParaRPr lang="en-GB" dirty="0"/>
          </a:p>
        </p:txBody>
      </p:sp>
      <p:sp>
        <p:nvSpPr>
          <p:cNvPr id="16" name="Title 6">
            <a:extLst>
              <a:ext uri="{FF2B5EF4-FFF2-40B4-BE49-F238E27FC236}">
                <a16:creationId xmlns:a16="http://schemas.microsoft.com/office/drawing/2014/main" id="{9460FE72-549E-4166-9647-40CCAF228275}"/>
              </a:ext>
            </a:extLst>
          </p:cNvPr>
          <p:cNvSpPr>
            <a:spLocks noGrp="1"/>
          </p:cNvSpPr>
          <p:nvPr>
            <p:ph type="title"/>
          </p:nvPr>
        </p:nvSpPr>
        <p:spPr>
          <a:xfrm>
            <a:off x="719135" y="353179"/>
            <a:ext cx="9564346" cy="377790"/>
          </a:xfrm>
        </p:spPr>
        <p:txBody>
          <a:bodyPr/>
          <a:lstStyle/>
          <a:p>
            <a:r>
              <a:rPr lang="fr-FR" sz="3200" dirty="0"/>
              <a:t>Les interdictions provisoires devant la JUB</a:t>
            </a:r>
            <a:endParaRPr lang="en-GB" sz="3200" dirty="0"/>
          </a:p>
        </p:txBody>
      </p:sp>
      <p:sp>
        <p:nvSpPr>
          <p:cNvPr id="7" name="Footer Placeholder 2">
            <a:extLst>
              <a:ext uri="{FF2B5EF4-FFF2-40B4-BE49-F238E27FC236}">
                <a16:creationId xmlns:a16="http://schemas.microsoft.com/office/drawing/2014/main" id="{4BE5E430-32DE-4D44-978E-816409DE0221}"/>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21065839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3">
            <a:extLst>
              <a:ext uri="{FF2B5EF4-FFF2-40B4-BE49-F238E27FC236}">
                <a16:creationId xmlns:a16="http://schemas.microsoft.com/office/drawing/2014/main" id="{D80802DB-3322-41E3-8E79-9B369E400D23}"/>
              </a:ext>
            </a:extLst>
          </p:cNvPr>
          <p:cNvSpPr txBox="1">
            <a:spLocks/>
          </p:cNvSpPr>
          <p:nvPr/>
        </p:nvSpPr>
        <p:spPr>
          <a:xfrm>
            <a:off x="6186487" y="1927380"/>
            <a:ext cx="5286376" cy="3890962"/>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a:lnSpc>
                <a:spcPct val="150000"/>
              </a:lnSpc>
            </a:pPr>
            <a:endParaRPr lang="fr-FR" sz="1400" i="1" dirty="0">
              <a:latin typeface="+mj-lt"/>
            </a:endParaRPr>
          </a:p>
          <a:p>
            <a:pPr>
              <a:lnSpc>
                <a:spcPct val="150000"/>
              </a:lnSpc>
            </a:pPr>
            <a:endParaRPr lang="fr-FR" sz="1400" i="1" dirty="0">
              <a:latin typeface="+mj-lt"/>
            </a:endParaRPr>
          </a:p>
          <a:p>
            <a:pPr lvl="1">
              <a:lnSpc>
                <a:spcPct val="150000"/>
              </a:lnSpc>
            </a:pPr>
            <a:r>
              <a:rPr lang="fr-FR" sz="1400" dirty="0">
                <a:latin typeface="+mj-lt"/>
              </a:rPr>
              <a:t>Coût d'une Demande d’interdiction provisoire : </a:t>
            </a:r>
            <a:r>
              <a:rPr lang="fr-FR" sz="1400" b="1" dirty="0">
                <a:latin typeface="+mj-lt"/>
              </a:rPr>
              <a:t>11.000 €</a:t>
            </a:r>
          </a:p>
          <a:p>
            <a:pPr>
              <a:lnSpc>
                <a:spcPct val="150000"/>
              </a:lnSpc>
            </a:pPr>
            <a:endParaRPr lang="en-GB" sz="1400" dirty="0">
              <a:latin typeface="+mj-lt"/>
            </a:endParaRPr>
          </a:p>
          <a:p>
            <a:endParaRPr lang="en-GB" sz="1400" dirty="0"/>
          </a:p>
        </p:txBody>
      </p:sp>
      <p:sp>
        <p:nvSpPr>
          <p:cNvPr id="12" name="Content Placeholder 4">
            <a:extLst>
              <a:ext uri="{FF2B5EF4-FFF2-40B4-BE49-F238E27FC236}">
                <a16:creationId xmlns:a16="http://schemas.microsoft.com/office/drawing/2014/main" id="{D5917154-76C8-4C4B-8B3D-7D878AD0DF26}"/>
              </a:ext>
            </a:extLst>
          </p:cNvPr>
          <p:cNvSpPr>
            <a:spLocks noGrp="1"/>
          </p:cNvSpPr>
          <p:nvPr>
            <p:ph idx="1"/>
          </p:nvPr>
        </p:nvSpPr>
        <p:spPr>
          <a:xfrm>
            <a:off x="719137" y="1745661"/>
            <a:ext cx="5286376" cy="4006800"/>
          </a:xfrm>
        </p:spPr>
        <p:txBody>
          <a:bodyPr/>
          <a:lstStyle/>
          <a:p>
            <a:pPr algn="just">
              <a:lnSpc>
                <a:spcPct val="150000"/>
              </a:lnSpc>
            </a:pPr>
            <a:r>
              <a:rPr lang="fr-FR" sz="1400" b="1" dirty="0">
                <a:latin typeface="+mj-lt"/>
              </a:rPr>
              <a:t>Article 47 UPCA</a:t>
            </a:r>
          </a:p>
          <a:p>
            <a:pPr marL="285750" lvl="1" indent="-285750" algn="just">
              <a:lnSpc>
                <a:spcPct val="150000"/>
              </a:lnSpc>
              <a:buFont typeface="Wingdings" panose="05000000000000000000" pitchFamily="2" charset="2"/>
              <a:buChar char="Ø"/>
            </a:pPr>
            <a:r>
              <a:rPr lang="fr-FR" sz="1400" dirty="0">
                <a:latin typeface="+mj-lt"/>
              </a:rPr>
              <a:t>Le </a:t>
            </a:r>
            <a:r>
              <a:rPr lang="fr-FR" sz="1400" b="1" dirty="0">
                <a:latin typeface="+mj-lt"/>
              </a:rPr>
              <a:t>breveté</a:t>
            </a:r>
            <a:r>
              <a:rPr lang="fr-FR" sz="1400" dirty="0">
                <a:latin typeface="+mj-lt"/>
              </a:rPr>
              <a:t>.</a:t>
            </a:r>
          </a:p>
          <a:p>
            <a:pPr marL="285750" lvl="1" indent="-285750" algn="just">
              <a:lnSpc>
                <a:spcPct val="150000"/>
              </a:lnSpc>
              <a:buFont typeface="Wingdings" panose="05000000000000000000" pitchFamily="2" charset="2"/>
              <a:buChar char="Ø"/>
            </a:pPr>
            <a:r>
              <a:rPr lang="fr-FR" sz="1400" dirty="0">
                <a:latin typeface="+mj-lt"/>
              </a:rPr>
              <a:t>Le </a:t>
            </a:r>
            <a:r>
              <a:rPr lang="fr-FR" sz="1400" b="1" dirty="0">
                <a:latin typeface="+mj-lt"/>
              </a:rPr>
              <a:t>licencié exclusif </a:t>
            </a:r>
            <a:r>
              <a:rPr lang="fr-FR" sz="1400" dirty="0">
                <a:latin typeface="+mj-lt"/>
              </a:rPr>
              <a:t>(sauf si la licence exclut ce droit) sur simple notification du breveté.</a:t>
            </a:r>
          </a:p>
          <a:p>
            <a:pPr marL="285750" lvl="1" indent="-285750" algn="just">
              <a:lnSpc>
                <a:spcPct val="150000"/>
              </a:lnSpc>
              <a:buFont typeface="Wingdings" panose="05000000000000000000" pitchFamily="2" charset="2"/>
              <a:buChar char="Ø"/>
            </a:pPr>
            <a:r>
              <a:rPr lang="fr-FR" sz="1400" dirty="0">
                <a:latin typeface="+mj-lt"/>
              </a:rPr>
              <a:t>Le </a:t>
            </a:r>
            <a:r>
              <a:rPr lang="fr-FR" sz="1400" b="1" dirty="0">
                <a:latin typeface="+mj-lt"/>
              </a:rPr>
              <a:t>licencié non exclusif</a:t>
            </a:r>
            <a:r>
              <a:rPr lang="fr-FR" sz="1400" dirty="0">
                <a:latin typeface="+mj-lt"/>
              </a:rPr>
              <a:t>, à condition que la licence accorde explicitement ce droit et après notification au titulaire du brevet.</a:t>
            </a:r>
          </a:p>
          <a:p>
            <a:pPr marL="285750" lvl="1" indent="-285750" algn="just">
              <a:lnSpc>
                <a:spcPct val="150000"/>
              </a:lnSpc>
              <a:buFont typeface="Wingdings" panose="05000000000000000000" pitchFamily="2" charset="2"/>
              <a:buChar char="Ø"/>
            </a:pPr>
            <a:r>
              <a:rPr lang="fr-FR" sz="1400" b="1" dirty="0">
                <a:latin typeface="+mj-lt"/>
              </a:rPr>
              <a:t>Toute autre personne physique ou morale</a:t>
            </a:r>
            <a:r>
              <a:rPr lang="fr-FR" sz="1400" dirty="0">
                <a:latin typeface="+mj-lt"/>
              </a:rPr>
              <a:t>, ou toute personne habilitée à agir conformément à sa législation nationale, si cette personne est concernée par le brevet en question.</a:t>
            </a:r>
          </a:p>
          <a:p>
            <a:pPr algn="just"/>
            <a:endParaRPr lang="en-GB" sz="1400" dirty="0"/>
          </a:p>
        </p:txBody>
      </p:sp>
      <p:sp>
        <p:nvSpPr>
          <p:cNvPr id="13" name="Subtitle 5">
            <a:extLst>
              <a:ext uri="{FF2B5EF4-FFF2-40B4-BE49-F238E27FC236}">
                <a16:creationId xmlns:a16="http://schemas.microsoft.com/office/drawing/2014/main" id="{C97378CF-DA10-439F-8BE3-E48B7A33D6FC}"/>
              </a:ext>
            </a:extLst>
          </p:cNvPr>
          <p:cNvSpPr>
            <a:spLocks noGrp="1"/>
          </p:cNvSpPr>
          <p:nvPr>
            <p:ph type="subTitle" idx="12"/>
          </p:nvPr>
        </p:nvSpPr>
        <p:spPr>
          <a:xfrm>
            <a:off x="719135" y="824332"/>
            <a:ext cx="9110663" cy="384905"/>
          </a:xfrm>
        </p:spPr>
        <p:txBody>
          <a:bodyPr/>
          <a:lstStyle/>
          <a:p>
            <a:r>
              <a:rPr lang="fr-FR" dirty="0"/>
              <a:t>La procédure - </a:t>
            </a:r>
            <a:r>
              <a:rPr lang="fr-FR" i="1" dirty="0">
                <a:latin typeface="+mj-lt"/>
              </a:rPr>
              <a:t>Qui  peut demander une interdiction provisoire ?</a:t>
            </a:r>
            <a:r>
              <a:rPr lang="fr-FR" dirty="0">
                <a:latin typeface="+mj-lt"/>
              </a:rPr>
              <a:t> </a:t>
            </a:r>
          </a:p>
          <a:p>
            <a:endParaRPr lang="en-GB" dirty="0"/>
          </a:p>
        </p:txBody>
      </p:sp>
      <p:sp>
        <p:nvSpPr>
          <p:cNvPr id="14" name="Title 6">
            <a:extLst>
              <a:ext uri="{FF2B5EF4-FFF2-40B4-BE49-F238E27FC236}">
                <a16:creationId xmlns:a16="http://schemas.microsoft.com/office/drawing/2014/main" id="{B0A697DB-7B75-459D-B6A1-5ADBFD7CA444}"/>
              </a:ext>
            </a:extLst>
          </p:cNvPr>
          <p:cNvSpPr>
            <a:spLocks noGrp="1"/>
          </p:cNvSpPr>
          <p:nvPr>
            <p:ph type="title"/>
          </p:nvPr>
        </p:nvSpPr>
        <p:spPr>
          <a:xfrm>
            <a:off x="719136" y="392316"/>
            <a:ext cx="9110663" cy="462216"/>
          </a:xfrm>
        </p:spPr>
        <p:txBody>
          <a:bodyPr/>
          <a:lstStyle/>
          <a:p>
            <a:r>
              <a:rPr lang="fr-FR" sz="3200" dirty="0"/>
              <a:t>Les interdictions provisoires devant la JUB</a:t>
            </a:r>
            <a:endParaRPr lang="en-GB" sz="3200" dirty="0"/>
          </a:p>
        </p:txBody>
      </p:sp>
      <p:sp>
        <p:nvSpPr>
          <p:cNvPr id="9" name="Footer Placeholder 2">
            <a:extLst>
              <a:ext uri="{FF2B5EF4-FFF2-40B4-BE49-F238E27FC236}">
                <a16:creationId xmlns:a16="http://schemas.microsoft.com/office/drawing/2014/main" id="{6577F2D6-41C9-44D7-860A-45CF039A3A53}"/>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16349173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4">
            <a:extLst>
              <a:ext uri="{FF2B5EF4-FFF2-40B4-BE49-F238E27FC236}">
                <a16:creationId xmlns:a16="http://schemas.microsoft.com/office/drawing/2014/main" id="{ADA9D8D7-CFA2-477B-98B1-A06F888C6B05}"/>
              </a:ext>
            </a:extLst>
          </p:cNvPr>
          <p:cNvSpPr txBox="1">
            <a:spLocks/>
          </p:cNvSpPr>
          <p:nvPr/>
        </p:nvSpPr>
        <p:spPr>
          <a:xfrm>
            <a:off x="719136" y="1386748"/>
            <a:ext cx="11025190" cy="4747352"/>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lgn="just">
              <a:lnSpc>
                <a:spcPct val="150000"/>
              </a:lnSpc>
              <a:spcBef>
                <a:spcPts val="0"/>
              </a:spcBef>
            </a:pPr>
            <a:endParaRPr lang="fr-FR" sz="1400" dirty="0">
              <a:latin typeface="+mj-lt"/>
            </a:endParaRPr>
          </a:p>
          <a:p>
            <a:pPr lvl="1" algn="just">
              <a:lnSpc>
                <a:spcPct val="150000"/>
              </a:lnSpc>
              <a:spcBef>
                <a:spcPts val="0"/>
              </a:spcBef>
            </a:pPr>
            <a:r>
              <a:rPr lang="fr-FR" sz="1400" dirty="0">
                <a:latin typeface="+mj-lt"/>
              </a:rPr>
              <a:t>La Cour prend notamment en compte (R. 209(2) </a:t>
            </a:r>
            <a:r>
              <a:rPr lang="fr-FR" sz="1400" dirty="0" err="1">
                <a:latin typeface="+mj-lt"/>
              </a:rPr>
              <a:t>UPCARoP</a:t>
            </a:r>
            <a:r>
              <a:rPr lang="fr-FR" sz="1400" dirty="0">
                <a:latin typeface="+mj-lt"/>
              </a:rPr>
              <a:t>)</a:t>
            </a:r>
          </a:p>
          <a:p>
            <a:pPr lvl="5" algn="just">
              <a:lnSpc>
                <a:spcPct val="150000"/>
              </a:lnSpc>
              <a:spcBef>
                <a:spcPts val="0"/>
              </a:spcBef>
            </a:pPr>
            <a:r>
              <a:rPr lang="fr-FR" sz="1400" dirty="0">
                <a:latin typeface="+mj-lt"/>
              </a:rPr>
              <a:t>si le brevet a été </a:t>
            </a:r>
            <a:r>
              <a:rPr lang="fr-FR" sz="1400" b="1" dirty="0">
                <a:latin typeface="+mj-lt"/>
              </a:rPr>
              <a:t>maintenu dans une procédure d'opposition </a:t>
            </a:r>
            <a:r>
              <a:rPr lang="fr-FR" sz="1400" dirty="0">
                <a:latin typeface="+mj-lt"/>
              </a:rPr>
              <a:t>devant l'Office européen des brevets ou s'il a fait l'objet d'une </a:t>
            </a:r>
            <a:r>
              <a:rPr lang="fr-FR" sz="1400" b="1" dirty="0">
                <a:latin typeface="+mj-lt"/>
              </a:rPr>
              <a:t>procédure devant une autre juridiction </a:t>
            </a:r>
            <a:r>
              <a:rPr lang="fr-FR" sz="1400" dirty="0">
                <a:latin typeface="+mj-lt"/>
              </a:rPr>
              <a:t>;</a:t>
            </a:r>
          </a:p>
          <a:p>
            <a:pPr lvl="5" algn="just">
              <a:lnSpc>
                <a:spcPct val="150000"/>
              </a:lnSpc>
              <a:spcBef>
                <a:spcPts val="0"/>
              </a:spcBef>
            </a:pPr>
            <a:r>
              <a:rPr lang="fr-FR" sz="1400" dirty="0">
                <a:latin typeface="+mj-lt"/>
              </a:rPr>
              <a:t>l'</a:t>
            </a:r>
            <a:r>
              <a:rPr lang="fr-FR" sz="1400" b="1" dirty="0">
                <a:latin typeface="+mj-lt"/>
              </a:rPr>
              <a:t>urgence</a:t>
            </a:r>
            <a:r>
              <a:rPr lang="fr-FR" sz="1400" dirty="0">
                <a:latin typeface="+mj-lt"/>
              </a:rPr>
              <a:t> de l'action ;</a:t>
            </a:r>
          </a:p>
          <a:p>
            <a:pPr lvl="5" algn="just">
              <a:lnSpc>
                <a:spcPct val="150000"/>
              </a:lnSpc>
              <a:spcBef>
                <a:spcPts val="0"/>
              </a:spcBef>
            </a:pPr>
            <a:r>
              <a:rPr lang="fr-FR" sz="1400" dirty="0">
                <a:latin typeface="+mj-lt"/>
              </a:rPr>
              <a:t>si le demandeur a demandé des mesures provisoires </a:t>
            </a:r>
            <a:r>
              <a:rPr lang="fr-FR" sz="1400" b="1" dirty="0">
                <a:latin typeface="+mj-lt"/>
              </a:rPr>
              <a:t>sans entendre le défendeur </a:t>
            </a:r>
            <a:r>
              <a:rPr lang="fr-FR" sz="1400" dirty="0">
                <a:latin typeface="+mj-lt"/>
              </a:rPr>
              <a:t>et si les raisons de ne pas entendre le défendeur semblent fondées ; et</a:t>
            </a:r>
          </a:p>
          <a:p>
            <a:pPr lvl="5" algn="just">
              <a:lnSpc>
                <a:spcPct val="150000"/>
              </a:lnSpc>
              <a:spcBef>
                <a:spcPts val="0"/>
              </a:spcBef>
            </a:pPr>
            <a:r>
              <a:rPr lang="fr-FR" sz="1400" dirty="0">
                <a:latin typeface="+mj-lt"/>
              </a:rPr>
              <a:t>toute </a:t>
            </a:r>
            <a:r>
              <a:rPr lang="fr-FR" sz="1400" b="1" dirty="0">
                <a:latin typeface="+mj-lt"/>
              </a:rPr>
              <a:t>lettre de protection ("</a:t>
            </a:r>
            <a:r>
              <a:rPr lang="fr-FR" sz="1400" b="1" i="1" dirty="0">
                <a:latin typeface="+mj-lt"/>
              </a:rPr>
              <a:t>Protective </a:t>
            </a:r>
            <a:r>
              <a:rPr lang="fr-FR" sz="1400" b="1" i="1" dirty="0" err="1">
                <a:latin typeface="+mj-lt"/>
              </a:rPr>
              <a:t>letter</a:t>
            </a:r>
            <a:r>
              <a:rPr lang="fr-FR" sz="1400" b="1" dirty="0">
                <a:latin typeface="+mj-lt"/>
              </a:rPr>
              <a:t>") </a:t>
            </a:r>
            <a:r>
              <a:rPr lang="fr-FR" sz="1400" dirty="0">
                <a:latin typeface="+mj-lt"/>
              </a:rPr>
              <a:t>déposée par la partie défenderesse ; le tribunal envisage en particulier de convoquer les parties à une audience si une lettre de protection pertinente a été déposée par le défendeur.</a:t>
            </a:r>
          </a:p>
        </p:txBody>
      </p:sp>
      <p:sp>
        <p:nvSpPr>
          <p:cNvPr id="15" name="Subtitle 5">
            <a:extLst>
              <a:ext uri="{FF2B5EF4-FFF2-40B4-BE49-F238E27FC236}">
                <a16:creationId xmlns:a16="http://schemas.microsoft.com/office/drawing/2014/main" id="{9AE83C6F-6BB7-4C25-AA51-07AA93543493}"/>
              </a:ext>
            </a:extLst>
          </p:cNvPr>
          <p:cNvSpPr>
            <a:spLocks noGrp="1"/>
          </p:cNvSpPr>
          <p:nvPr>
            <p:ph type="subTitle" idx="12"/>
          </p:nvPr>
        </p:nvSpPr>
        <p:spPr>
          <a:xfrm>
            <a:off x="719135" y="836069"/>
            <a:ext cx="7596189" cy="377790"/>
          </a:xfrm>
        </p:spPr>
        <p:txBody>
          <a:bodyPr/>
          <a:lstStyle/>
          <a:p>
            <a:r>
              <a:rPr lang="fr-FR" dirty="0"/>
              <a:t>Règles d'appréciation </a:t>
            </a:r>
            <a:endParaRPr lang="en-GB" dirty="0"/>
          </a:p>
        </p:txBody>
      </p:sp>
      <p:sp>
        <p:nvSpPr>
          <p:cNvPr id="16" name="Title 6">
            <a:extLst>
              <a:ext uri="{FF2B5EF4-FFF2-40B4-BE49-F238E27FC236}">
                <a16:creationId xmlns:a16="http://schemas.microsoft.com/office/drawing/2014/main" id="{9460FE72-549E-4166-9647-40CCAF228275}"/>
              </a:ext>
            </a:extLst>
          </p:cNvPr>
          <p:cNvSpPr>
            <a:spLocks noGrp="1"/>
          </p:cNvSpPr>
          <p:nvPr>
            <p:ph type="title"/>
          </p:nvPr>
        </p:nvSpPr>
        <p:spPr>
          <a:xfrm>
            <a:off x="719135" y="387852"/>
            <a:ext cx="9564346" cy="377790"/>
          </a:xfrm>
        </p:spPr>
        <p:txBody>
          <a:bodyPr/>
          <a:lstStyle/>
          <a:p>
            <a:r>
              <a:rPr lang="fr-FR" sz="3200" dirty="0"/>
              <a:t>Les interdictions provisoires devant la JUB</a:t>
            </a:r>
            <a:endParaRPr lang="en-GB" sz="3200" dirty="0"/>
          </a:p>
        </p:txBody>
      </p:sp>
      <p:sp>
        <p:nvSpPr>
          <p:cNvPr id="7" name="Footer Placeholder 2">
            <a:extLst>
              <a:ext uri="{FF2B5EF4-FFF2-40B4-BE49-F238E27FC236}">
                <a16:creationId xmlns:a16="http://schemas.microsoft.com/office/drawing/2014/main" id="{ED245F2B-8D59-4447-9E83-FB54DF19DF8A}"/>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8914590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6D65BF3-4C4B-4000-AFC3-A20DDD8629DE}"/>
              </a:ext>
            </a:extLst>
          </p:cNvPr>
          <p:cNvSpPr>
            <a:spLocks noGrp="1"/>
          </p:cNvSpPr>
          <p:nvPr>
            <p:ph idx="1"/>
          </p:nvPr>
        </p:nvSpPr>
        <p:spPr>
          <a:xfrm>
            <a:off x="719137" y="1726710"/>
            <a:ext cx="9840913" cy="4006800"/>
          </a:xfrm>
        </p:spPr>
        <p:txBody>
          <a:bodyPr/>
          <a:lstStyle/>
          <a:p>
            <a:pPr lvl="1" algn="just">
              <a:lnSpc>
                <a:spcPct val="150000"/>
              </a:lnSpc>
              <a:spcBef>
                <a:spcPts val="0"/>
              </a:spcBef>
            </a:pPr>
            <a:r>
              <a:rPr lang="fr-FR" sz="1400" b="1" dirty="0">
                <a:latin typeface="+mj-lt"/>
              </a:rPr>
              <a:t>Validité du brevet</a:t>
            </a:r>
          </a:p>
          <a:p>
            <a:pPr lvl="2" algn="just">
              <a:lnSpc>
                <a:spcPct val="150000"/>
              </a:lnSpc>
              <a:spcBef>
                <a:spcPts val="0"/>
              </a:spcBef>
            </a:pPr>
            <a:r>
              <a:rPr lang="fr-FR" sz="1400" dirty="0">
                <a:latin typeface="+mj-lt"/>
              </a:rPr>
              <a:t>En premier lieu  regarder l'existence d'une opposition/autre procédure</a:t>
            </a:r>
          </a:p>
          <a:p>
            <a:pPr lvl="3" algn="just">
              <a:lnSpc>
                <a:spcPct val="150000"/>
              </a:lnSpc>
              <a:spcBef>
                <a:spcPts val="0"/>
              </a:spcBef>
            </a:pPr>
            <a:r>
              <a:rPr lang="fr-FR" sz="1400" dirty="0">
                <a:latin typeface="+mj-lt"/>
              </a:rPr>
              <a:t>Ne présume pas qu'en l'absence d'opposition une interdiction provisoire ne soit pas prononcée (voir C‑44/21)</a:t>
            </a:r>
          </a:p>
          <a:p>
            <a:pPr lvl="3" algn="just">
              <a:lnSpc>
                <a:spcPct val="150000"/>
              </a:lnSpc>
              <a:spcBef>
                <a:spcPts val="0"/>
              </a:spcBef>
            </a:pPr>
            <a:r>
              <a:rPr lang="fr-FR" sz="1400" dirty="0">
                <a:latin typeface="+mj-lt"/>
              </a:rPr>
              <a:t>Ne présume pas qu'une interdiction ne soit pas prononcée avant une décision au fond sur la validité du brevet</a:t>
            </a:r>
          </a:p>
          <a:p>
            <a:pPr lvl="2" algn="just">
              <a:lnSpc>
                <a:spcPct val="150000"/>
              </a:lnSpc>
              <a:spcBef>
                <a:spcPts val="0"/>
              </a:spcBef>
            </a:pPr>
            <a:endParaRPr lang="fr-FR" sz="1400" dirty="0">
              <a:latin typeface="+mj-lt"/>
            </a:endParaRPr>
          </a:p>
          <a:p>
            <a:pPr lvl="2" algn="just">
              <a:lnSpc>
                <a:spcPct val="150000"/>
              </a:lnSpc>
              <a:spcBef>
                <a:spcPts val="0"/>
              </a:spcBef>
            </a:pPr>
            <a:r>
              <a:rPr lang="fr-FR" sz="1400" dirty="0">
                <a:latin typeface="+mj-lt"/>
              </a:rPr>
              <a:t>Règles 206(2)(d) &amp; 211(2) </a:t>
            </a:r>
            <a:r>
              <a:rPr lang="fr-FR" sz="1400" dirty="0" err="1">
                <a:latin typeface="+mj-lt"/>
              </a:rPr>
              <a:t>UPCARoP</a:t>
            </a:r>
            <a:endParaRPr lang="fr-FR" sz="1400" dirty="0">
              <a:latin typeface="+mj-lt"/>
            </a:endParaRPr>
          </a:p>
          <a:p>
            <a:pPr lvl="3" algn="just">
              <a:lnSpc>
                <a:spcPct val="150000"/>
              </a:lnSpc>
              <a:spcBef>
                <a:spcPts val="0"/>
              </a:spcBef>
            </a:pPr>
            <a:r>
              <a:rPr lang="fr-FR" sz="1400" dirty="0">
                <a:latin typeface="+mj-lt"/>
              </a:rPr>
              <a:t>"</a:t>
            </a:r>
            <a:r>
              <a:rPr lang="fr-FR" sz="1400" i="1" dirty="0">
                <a:latin typeface="+mj-lt"/>
              </a:rPr>
              <a:t>En prenant sa décision, la Cour peut exiger du requérant qu'il fournisse des éléments de preuve raisonnables pour convaincre la Cour, avec un </a:t>
            </a:r>
            <a:r>
              <a:rPr lang="fr-FR" sz="1400" b="1" i="1" dirty="0">
                <a:latin typeface="+mj-lt"/>
              </a:rPr>
              <a:t>degré suffisant de certitude</a:t>
            </a:r>
            <a:r>
              <a:rPr lang="fr-FR" sz="1400" i="1" dirty="0">
                <a:latin typeface="+mj-lt"/>
              </a:rPr>
              <a:t>, que le demandeur a le droit d'engager une procédure en vertu de l'article 47, que le </a:t>
            </a:r>
            <a:r>
              <a:rPr lang="fr-FR" sz="1400" b="1" i="1" dirty="0">
                <a:latin typeface="+mj-lt"/>
              </a:rPr>
              <a:t>brevet en question est valide </a:t>
            </a:r>
            <a:r>
              <a:rPr lang="fr-FR" sz="1400" i="1" dirty="0">
                <a:latin typeface="+mj-lt"/>
              </a:rPr>
              <a:t>et qu'il est porté atteinte à son droit, ou que cette atteinte est imminente. </a:t>
            </a:r>
            <a:r>
              <a:rPr lang="fr-FR" sz="1400" dirty="0">
                <a:latin typeface="+mj-lt"/>
              </a:rPr>
              <a:t>"</a:t>
            </a:r>
          </a:p>
        </p:txBody>
      </p:sp>
      <p:sp>
        <p:nvSpPr>
          <p:cNvPr id="15" name="Subtitle 5">
            <a:extLst>
              <a:ext uri="{FF2B5EF4-FFF2-40B4-BE49-F238E27FC236}">
                <a16:creationId xmlns:a16="http://schemas.microsoft.com/office/drawing/2014/main" id="{9AE83C6F-6BB7-4C25-AA51-07AA93543493}"/>
              </a:ext>
            </a:extLst>
          </p:cNvPr>
          <p:cNvSpPr>
            <a:spLocks noGrp="1"/>
          </p:cNvSpPr>
          <p:nvPr>
            <p:ph type="subTitle" idx="12"/>
          </p:nvPr>
        </p:nvSpPr>
        <p:spPr>
          <a:xfrm>
            <a:off x="719137" y="855209"/>
            <a:ext cx="9840913" cy="423178"/>
          </a:xfrm>
        </p:spPr>
        <p:txBody>
          <a:bodyPr/>
          <a:lstStyle/>
          <a:p>
            <a:r>
              <a:rPr lang="fr-FR" dirty="0"/>
              <a:t>Règles d'appréciation</a:t>
            </a:r>
            <a:endParaRPr lang="en-GB" dirty="0"/>
          </a:p>
        </p:txBody>
      </p:sp>
      <p:sp>
        <p:nvSpPr>
          <p:cNvPr id="16" name="Title 6">
            <a:extLst>
              <a:ext uri="{FF2B5EF4-FFF2-40B4-BE49-F238E27FC236}">
                <a16:creationId xmlns:a16="http://schemas.microsoft.com/office/drawing/2014/main" id="{9460FE72-549E-4166-9647-40CCAF228275}"/>
              </a:ext>
            </a:extLst>
          </p:cNvPr>
          <p:cNvSpPr>
            <a:spLocks noGrp="1"/>
          </p:cNvSpPr>
          <p:nvPr>
            <p:ph type="title"/>
          </p:nvPr>
        </p:nvSpPr>
        <p:spPr>
          <a:xfrm>
            <a:off x="719137" y="346798"/>
            <a:ext cx="9840913" cy="720000"/>
          </a:xfrm>
        </p:spPr>
        <p:txBody>
          <a:bodyPr/>
          <a:lstStyle/>
          <a:p>
            <a:r>
              <a:rPr lang="fr-FR" sz="3200" dirty="0"/>
              <a:t>Les interdictions provisoires devant la JUB</a:t>
            </a:r>
            <a:endParaRPr lang="en-GB" sz="3200" dirty="0"/>
          </a:p>
        </p:txBody>
      </p:sp>
      <p:sp>
        <p:nvSpPr>
          <p:cNvPr id="9" name="Footer Placeholder 2">
            <a:extLst>
              <a:ext uri="{FF2B5EF4-FFF2-40B4-BE49-F238E27FC236}">
                <a16:creationId xmlns:a16="http://schemas.microsoft.com/office/drawing/2014/main" id="{A24A2970-9D6C-4DAF-8677-8F45B701AA54}"/>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2551942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4">
            <a:extLst>
              <a:ext uri="{FF2B5EF4-FFF2-40B4-BE49-F238E27FC236}">
                <a16:creationId xmlns:a16="http://schemas.microsoft.com/office/drawing/2014/main" id="{09DAD6EC-8E4C-4772-A828-FB0D18B6D7DB}"/>
              </a:ext>
            </a:extLst>
          </p:cNvPr>
          <p:cNvSpPr txBox="1">
            <a:spLocks/>
          </p:cNvSpPr>
          <p:nvPr/>
        </p:nvSpPr>
        <p:spPr>
          <a:xfrm>
            <a:off x="774605" y="1652453"/>
            <a:ext cx="4922008" cy="3111524"/>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lgn="just">
              <a:lnSpc>
                <a:spcPct val="150000"/>
              </a:lnSpc>
            </a:pPr>
            <a:r>
              <a:rPr lang="fr-FR" sz="1400" b="1" dirty="0">
                <a:latin typeface="+mj-lt"/>
              </a:rPr>
              <a:t>L'urgence</a:t>
            </a:r>
          </a:p>
          <a:p>
            <a:pPr lvl="2" algn="just">
              <a:lnSpc>
                <a:spcPct val="150000"/>
              </a:lnSpc>
            </a:pPr>
            <a:r>
              <a:rPr lang="fr-FR" sz="1400" dirty="0">
                <a:latin typeface="+mj-lt"/>
              </a:rPr>
              <a:t>N'est pas un critère </a:t>
            </a:r>
          </a:p>
          <a:p>
            <a:pPr lvl="3" algn="just">
              <a:lnSpc>
                <a:spcPct val="150000"/>
              </a:lnSpc>
            </a:pPr>
            <a:r>
              <a:rPr lang="fr-FR" sz="1400" dirty="0">
                <a:latin typeface="+mj-lt"/>
              </a:rPr>
              <a:t>Article 62 UPCA</a:t>
            </a:r>
          </a:p>
          <a:p>
            <a:pPr lvl="3" algn="just">
              <a:lnSpc>
                <a:spcPct val="150000"/>
              </a:lnSpc>
            </a:pPr>
            <a:r>
              <a:rPr lang="fr-FR" sz="1400" dirty="0">
                <a:latin typeface="+mj-lt"/>
              </a:rPr>
              <a:t>Directive 2004/48/CE</a:t>
            </a:r>
          </a:p>
          <a:p>
            <a:pPr lvl="2" algn="just">
              <a:lnSpc>
                <a:spcPct val="150000"/>
              </a:lnSpc>
            </a:pPr>
            <a:r>
              <a:rPr lang="fr-FR" sz="1400" dirty="0">
                <a:latin typeface="+mj-lt"/>
              </a:rPr>
              <a:t>Mais doit être pris en compte par la JUB pour sa décision (R. 209(2)(b) </a:t>
            </a:r>
            <a:r>
              <a:rPr lang="fr-FR" sz="1400" dirty="0" err="1">
                <a:latin typeface="+mj-lt"/>
              </a:rPr>
              <a:t>UPCARoP</a:t>
            </a:r>
            <a:r>
              <a:rPr lang="fr-FR" sz="1400" dirty="0">
                <a:latin typeface="+mj-lt"/>
              </a:rPr>
              <a:t>)</a:t>
            </a:r>
          </a:p>
          <a:p>
            <a:pPr lvl="2" algn="just">
              <a:lnSpc>
                <a:spcPct val="150000"/>
              </a:lnSpc>
            </a:pPr>
            <a:r>
              <a:rPr lang="fr-FR" sz="1400" dirty="0">
                <a:latin typeface="+mj-lt"/>
              </a:rPr>
              <a:t>En effet, la procédure (au fond) devrait être rapide devant la  JUB, il y a une certaine logique à ce que l'interdiction provisoire tienne compte du caractère urgent de la mesure</a:t>
            </a:r>
          </a:p>
          <a:p>
            <a:endParaRPr lang="en-GB" dirty="0">
              <a:latin typeface="+mj-lt"/>
            </a:endParaRPr>
          </a:p>
        </p:txBody>
      </p:sp>
      <p:sp>
        <p:nvSpPr>
          <p:cNvPr id="13" name="Subtitle 5">
            <a:extLst>
              <a:ext uri="{FF2B5EF4-FFF2-40B4-BE49-F238E27FC236}">
                <a16:creationId xmlns:a16="http://schemas.microsoft.com/office/drawing/2014/main" id="{8D22C05C-7206-4294-93AD-AAE036A838D1}"/>
              </a:ext>
            </a:extLst>
          </p:cNvPr>
          <p:cNvSpPr>
            <a:spLocks noGrp="1"/>
          </p:cNvSpPr>
          <p:nvPr>
            <p:ph type="subTitle" idx="12"/>
          </p:nvPr>
        </p:nvSpPr>
        <p:spPr>
          <a:xfrm>
            <a:off x="774603" y="817035"/>
            <a:ext cx="9110663" cy="377790"/>
          </a:xfrm>
        </p:spPr>
        <p:txBody>
          <a:bodyPr/>
          <a:lstStyle/>
          <a:p>
            <a:r>
              <a:rPr lang="fr-FR" dirty="0"/>
              <a:t>Règles d'appréciation</a:t>
            </a:r>
            <a:endParaRPr lang="en-GB" dirty="0"/>
          </a:p>
        </p:txBody>
      </p:sp>
      <p:sp>
        <p:nvSpPr>
          <p:cNvPr id="15" name="Content Placeholder 4">
            <a:extLst>
              <a:ext uri="{FF2B5EF4-FFF2-40B4-BE49-F238E27FC236}">
                <a16:creationId xmlns:a16="http://schemas.microsoft.com/office/drawing/2014/main" id="{D7D0D6DB-E2F5-4E8A-BB4A-F15887A04A34}"/>
              </a:ext>
            </a:extLst>
          </p:cNvPr>
          <p:cNvSpPr txBox="1">
            <a:spLocks/>
          </p:cNvSpPr>
          <p:nvPr/>
        </p:nvSpPr>
        <p:spPr>
          <a:xfrm>
            <a:off x="774605" y="4872536"/>
            <a:ext cx="10435145" cy="1373519"/>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endParaRPr lang="en-GB" dirty="0">
              <a:latin typeface="+mj-lt"/>
            </a:endParaRPr>
          </a:p>
        </p:txBody>
      </p:sp>
      <p:sp>
        <p:nvSpPr>
          <p:cNvPr id="16" name="Title 6">
            <a:extLst>
              <a:ext uri="{FF2B5EF4-FFF2-40B4-BE49-F238E27FC236}">
                <a16:creationId xmlns:a16="http://schemas.microsoft.com/office/drawing/2014/main" id="{B0FE0083-72AF-41E1-83AF-21005AF48829}"/>
              </a:ext>
            </a:extLst>
          </p:cNvPr>
          <p:cNvSpPr>
            <a:spLocks noGrp="1"/>
          </p:cNvSpPr>
          <p:nvPr>
            <p:ph type="title"/>
          </p:nvPr>
        </p:nvSpPr>
        <p:spPr>
          <a:xfrm>
            <a:off x="774603" y="394988"/>
            <a:ext cx="9110663" cy="342210"/>
          </a:xfrm>
        </p:spPr>
        <p:txBody>
          <a:bodyPr/>
          <a:lstStyle/>
          <a:p>
            <a:r>
              <a:rPr lang="fr-FR" sz="3200" dirty="0"/>
              <a:t>Les interdictions provisoires devant la JUB</a:t>
            </a:r>
            <a:endParaRPr lang="en-GB" sz="3200" dirty="0"/>
          </a:p>
        </p:txBody>
      </p:sp>
      <p:sp>
        <p:nvSpPr>
          <p:cNvPr id="9" name="Footer Placeholder 2">
            <a:extLst>
              <a:ext uri="{FF2B5EF4-FFF2-40B4-BE49-F238E27FC236}">
                <a16:creationId xmlns:a16="http://schemas.microsoft.com/office/drawing/2014/main" id="{5CE5D14A-D7E2-4204-BB04-2D8A472C41FC}"/>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3201720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6D65BF3-4C4B-4000-AFC3-A20DDD8629DE}"/>
              </a:ext>
            </a:extLst>
          </p:cNvPr>
          <p:cNvSpPr>
            <a:spLocks noGrp="1"/>
          </p:cNvSpPr>
          <p:nvPr>
            <p:ph idx="1"/>
          </p:nvPr>
        </p:nvSpPr>
        <p:spPr>
          <a:xfrm>
            <a:off x="719137" y="1750628"/>
            <a:ext cx="9840913" cy="4006800"/>
          </a:xfrm>
        </p:spPr>
        <p:txBody>
          <a:bodyPr/>
          <a:lstStyle/>
          <a:p>
            <a:pPr lvl="1" algn="just">
              <a:lnSpc>
                <a:spcPct val="150000"/>
              </a:lnSpc>
              <a:spcBef>
                <a:spcPts val="0"/>
              </a:spcBef>
            </a:pPr>
            <a:r>
              <a:rPr lang="fr-FR" sz="1400" b="1" dirty="0">
                <a:latin typeface="+mj-lt"/>
              </a:rPr>
              <a:t>Balance des intérêts – A. 62(2) UPCA</a:t>
            </a:r>
          </a:p>
          <a:p>
            <a:pPr lvl="2" algn="just">
              <a:lnSpc>
                <a:spcPct val="150000"/>
              </a:lnSpc>
              <a:spcBef>
                <a:spcPts val="0"/>
              </a:spcBef>
            </a:pPr>
            <a:r>
              <a:rPr lang="fr-FR" sz="1400" dirty="0">
                <a:latin typeface="+mj-lt"/>
              </a:rPr>
              <a:t>Préjudice potentiel pour chaque partie	</a:t>
            </a:r>
          </a:p>
          <a:p>
            <a:pPr lvl="2" algn="just">
              <a:lnSpc>
                <a:spcPct val="150000"/>
              </a:lnSpc>
              <a:spcBef>
                <a:spcPts val="0"/>
              </a:spcBef>
            </a:pPr>
            <a:r>
              <a:rPr lang="fr-FR" sz="1400" dirty="0">
                <a:latin typeface="+mj-lt"/>
              </a:rPr>
              <a:t>R. 211(2) </a:t>
            </a:r>
            <a:r>
              <a:rPr lang="fr-FR" sz="1400" dirty="0" err="1">
                <a:latin typeface="+mj-lt"/>
              </a:rPr>
              <a:t>UPCARoP</a:t>
            </a:r>
            <a:r>
              <a:rPr lang="fr-FR" sz="1400" dirty="0">
                <a:latin typeface="+mj-lt"/>
              </a:rPr>
              <a:t> - Degré suffisant de certitude que le demandeur est en droit</a:t>
            </a:r>
          </a:p>
          <a:p>
            <a:pPr lvl="3" algn="just">
              <a:lnSpc>
                <a:spcPct val="150000"/>
              </a:lnSpc>
              <a:spcBef>
                <a:spcPts val="0"/>
              </a:spcBef>
            </a:pPr>
            <a:r>
              <a:rPr lang="fr-FR" sz="1400" dirty="0">
                <a:latin typeface="+mj-lt"/>
              </a:rPr>
              <a:t>d'engager une procédure selon l'article 47, </a:t>
            </a:r>
          </a:p>
          <a:p>
            <a:pPr lvl="3" algn="just">
              <a:lnSpc>
                <a:spcPct val="150000"/>
              </a:lnSpc>
              <a:spcBef>
                <a:spcPts val="0"/>
              </a:spcBef>
            </a:pPr>
            <a:r>
              <a:rPr lang="fr-FR" sz="1400" dirty="0">
                <a:latin typeface="+mj-lt"/>
              </a:rPr>
              <a:t>que le brevet en cause est valide, et</a:t>
            </a:r>
          </a:p>
          <a:p>
            <a:pPr lvl="3" algn="just">
              <a:lnSpc>
                <a:spcPct val="150000"/>
              </a:lnSpc>
              <a:spcBef>
                <a:spcPts val="0"/>
              </a:spcBef>
            </a:pPr>
            <a:r>
              <a:rPr lang="fr-FR" sz="1400" dirty="0">
                <a:latin typeface="+mj-lt"/>
              </a:rPr>
              <a:t>qu'il est porté atteinte à son droit, ou que cette atteinte est imminente.</a:t>
            </a:r>
          </a:p>
          <a:p>
            <a:pPr lvl="2" algn="just">
              <a:lnSpc>
                <a:spcPct val="150000"/>
              </a:lnSpc>
              <a:spcBef>
                <a:spcPts val="0"/>
              </a:spcBef>
            </a:pPr>
            <a:endParaRPr lang="fr-FR" sz="1400" dirty="0">
              <a:latin typeface="+mj-lt"/>
            </a:endParaRPr>
          </a:p>
          <a:p>
            <a:pPr lvl="1" algn="just">
              <a:lnSpc>
                <a:spcPct val="150000"/>
              </a:lnSpc>
              <a:spcBef>
                <a:spcPts val="0"/>
              </a:spcBef>
            </a:pPr>
            <a:r>
              <a:rPr lang="fr-FR" sz="1400" b="1" dirty="0">
                <a:latin typeface="+mj-lt"/>
              </a:rPr>
              <a:t>Eléments de preuve – A. 62(4) UPCA</a:t>
            </a:r>
          </a:p>
          <a:p>
            <a:pPr lvl="2" algn="just">
              <a:lnSpc>
                <a:spcPct val="150000"/>
              </a:lnSpc>
              <a:spcBef>
                <a:spcPts val="0"/>
              </a:spcBef>
            </a:pPr>
            <a:r>
              <a:rPr lang="fr-FR" sz="1400" dirty="0">
                <a:latin typeface="+mj-lt"/>
              </a:rPr>
              <a:t>La Cour peut, en ce qui concerne les mesures visées aux paragraphes 1 (provisoires) et 3 (conservatoires), exiger du requérant qu'il fournisse tout élément de preuve raisonnable permettant de s'assurer avec un </a:t>
            </a:r>
            <a:r>
              <a:rPr lang="fr-FR" sz="1400" b="1" dirty="0">
                <a:latin typeface="+mj-lt"/>
              </a:rPr>
              <a:t>degré de certitude suffisant </a:t>
            </a:r>
            <a:r>
              <a:rPr lang="fr-FR" sz="1400" dirty="0">
                <a:latin typeface="+mj-lt"/>
              </a:rPr>
              <a:t>que le </a:t>
            </a:r>
            <a:r>
              <a:rPr lang="fr-FR" sz="1400" b="1" dirty="0">
                <a:latin typeface="+mj-lt"/>
              </a:rPr>
              <a:t>requérant est le titulaire du droit </a:t>
            </a:r>
            <a:r>
              <a:rPr lang="fr-FR" sz="1400" dirty="0">
                <a:latin typeface="+mj-lt"/>
              </a:rPr>
              <a:t>et qu'il est </a:t>
            </a:r>
            <a:r>
              <a:rPr lang="fr-FR" sz="1400" b="1" dirty="0">
                <a:latin typeface="+mj-lt"/>
              </a:rPr>
              <a:t>porté atteinte à son droit</a:t>
            </a:r>
            <a:r>
              <a:rPr lang="fr-FR" sz="1400" dirty="0">
                <a:latin typeface="+mj-lt"/>
              </a:rPr>
              <a:t>, ou que cette atteinte est imminente.</a:t>
            </a:r>
          </a:p>
          <a:p>
            <a:pPr lvl="2" algn="just">
              <a:lnSpc>
                <a:spcPct val="150000"/>
              </a:lnSpc>
              <a:spcBef>
                <a:spcPts val="0"/>
              </a:spcBef>
            </a:pPr>
            <a:r>
              <a:rPr lang="fr-FR" sz="1400" dirty="0">
                <a:latin typeface="+mj-lt"/>
              </a:rPr>
              <a:t>R. 206 &amp; 211 </a:t>
            </a:r>
            <a:r>
              <a:rPr lang="fr-FR" sz="1400" dirty="0" err="1">
                <a:latin typeface="+mj-lt"/>
              </a:rPr>
              <a:t>UPCARoP</a:t>
            </a:r>
            <a:r>
              <a:rPr lang="fr-FR" sz="1400" dirty="0">
                <a:latin typeface="+mj-lt"/>
              </a:rPr>
              <a:t> (moyens, faits et preuves)</a:t>
            </a:r>
          </a:p>
        </p:txBody>
      </p:sp>
      <p:sp>
        <p:nvSpPr>
          <p:cNvPr id="15" name="Subtitle 5">
            <a:extLst>
              <a:ext uri="{FF2B5EF4-FFF2-40B4-BE49-F238E27FC236}">
                <a16:creationId xmlns:a16="http://schemas.microsoft.com/office/drawing/2014/main" id="{9AE83C6F-6BB7-4C25-AA51-07AA93543493}"/>
              </a:ext>
            </a:extLst>
          </p:cNvPr>
          <p:cNvSpPr>
            <a:spLocks noGrp="1"/>
          </p:cNvSpPr>
          <p:nvPr>
            <p:ph type="subTitle" idx="12"/>
          </p:nvPr>
        </p:nvSpPr>
        <p:spPr>
          <a:xfrm>
            <a:off x="719136" y="754634"/>
            <a:ext cx="9840913" cy="429732"/>
          </a:xfrm>
        </p:spPr>
        <p:txBody>
          <a:bodyPr/>
          <a:lstStyle/>
          <a:p>
            <a:r>
              <a:rPr lang="fr-FR" dirty="0"/>
              <a:t>Règles d'appréciation</a:t>
            </a:r>
            <a:endParaRPr lang="en-GB" dirty="0"/>
          </a:p>
        </p:txBody>
      </p:sp>
      <p:sp>
        <p:nvSpPr>
          <p:cNvPr id="16" name="Title 6">
            <a:extLst>
              <a:ext uri="{FF2B5EF4-FFF2-40B4-BE49-F238E27FC236}">
                <a16:creationId xmlns:a16="http://schemas.microsoft.com/office/drawing/2014/main" id="{9460FE72-549E-4166-9647-40CCAF228275}"/>
              </a:ext>
            </a:extLst>
          </p:cNvPr>
          <p:cNvSpPr>
            <a:spLocks noGrp="1"/>
          </p:cNvSpPr>
          <p:nvPr>
            <p:ph type="title"/>
          </p:nvPr>
        </p:nvSpPr>
        <p:spPr>
          <a:xfrm>
            <a:off x="719135" y="380572"/>
            <a:ext cx="9840913" cy="720000"/>
          </a:xfrm>
        </p:spPr>
        <p:txBody>
          <a:bodyPr/>
          <a:lstStyle/>
          <a:p>
            <a:r>
              <a:rPr lang="fr-FR" sz="3200" dirty="0"/>
              <a:t>Les interdictions provisoires devant la JUB</a:t>
            </a:r>
            <a:endParaRPr lang="en-GB" sz="3200" dirty="0"/>
          </a:p>
        </p:txBody>
      </p:sp>
      <p:sp>
        <p:nvSpPr>
          <p:cNvPr id="7" name="Footer Placeholder 2">
            <a:extLst>
              <a:ext uri="{FF2B5EF4-FFF2-40B4-BE49-F238E27FC236}">
                <a16:creationId xmlns:a16="http://schemas.microsoft.com/office/drawing/2014/main" id="{88E68CB2-C331-45B0-A1C6-44BA7F0DEDEE}"/>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10736152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4">
            <a:extLst>
              <a:ext uri="{FF2B5EF4-FFF2-40B4-BE49-F238E27FC236}">
                <a16:creationId xmlns:a16="http://schemas.microsoft.com/office/drawing/2014/main" id="{ADA9D8D7-CFA2-477B-98B1-A06F888C6B05}"/>
              </a:ext>
            </a:extLst>
          </p:cNvPr>
          <p:cNvSpPr txBox="1">
            <a:spLocks/>
          </p:cNvSpPr>
          <p:nvPr/>
        </p:nvSpPr>
        <p:spPr>
          <a:xfrm>
            <a:off x="658175" y="1663975"/>
            <a:ext cx="11025190" cy="4747352"/>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lgn="just">
              <a:lnSpc>
                <a:spcPct val="150000"/>
              </a:lnSpc>
              <a:spcBef>
                <a:spcPts val="0"/>
              </a:spcBef>
            </a:pPr>
            <a:r>
              <a:rPr lang="fr-FR" sz="1400" b="1" dirty="0">
                <a:latin typeface="+mj-lt"/>
              </a:rPr>
              <a:t>R. 209(2)(d) </a:t>
            </a:r>
            <a:r>
              <a:rPr lang="fr-FR" sz="1400" b="1" dirty="0" err="1">
                <a:latin typeface="+mj-lt"/>
              </a:rPr>
              <a:t>UPCARoP</a:t>
            </a:r>
            <a:endParaRPr lang="fr-FR" sz="1400" b="1" dirty="0">
              <a:latin typeface="+mj-lt"/>
            </a:endParaRPr>
          </a:p>
          <a:p>
            <a:pPr lvl="2" algn="just">
              <a:lnSpc>
                <a:spcPct val="150000"/>
              </a:lnSpc>
              <a:spcBef>
                <a:spcPts val="0"/>
              </a:spcBef>
            </a:pPr>
            <a:r>
              <a:rPr lang="fr-FR" sz="1400" dirty="0">
                <a:latin typeface="+mj-lt"/>
              </a:rPr>
              <a:t>La Cour envisage en particulier de convoquer les parties à une audience orale si une lettre de protection pertinente a été déposée par le défendeur.</a:t>
            </a:r>
          </a:p>
          <a:p>
            <a:pPr lvl="3" algn="just">
              <a:lnSpc>
                <a:spcPct val="150000"/>
              </a:lnSpc>
              <a:spcBef>
                <a:spcPts val="0"/>
              </a:spcBef>
            </a:pPr>
            <a:r>
              <a:rPr lang="fr-FR" sz="1400" dirty="0">
                <a:latin typeface="+mj-lt"/>
              </a:rPr>
              <a:t>Il faudrait donc statuer à chaque FTO si et à quel moment une Lettre de protection doit être rédigée et déposée devant la JUB pour le/les brevets à risque. </a:t>
            </a:r>
          </a:p>
          <a:p>
            <a:pPr lvl="3" algn="just">
              <a:lnSpc>
                <a:spcPct val="150000"/>
              </a:lnSpc>
              <a:spcBef>
                <a:spcPts val="0"/>
              </a:spcBef>
            </a:pPr>
            <a:r>
              <a:rPr lang="fr-FR" sz="1400" dirty="0">
                <a:latin typeface="+mj-lt"/>
              </a:rPr>
              <a:t>Limiter le risque qu'une interdiction provisoire soit ordonnée en procédure </a:t>
            </a:r>
            <a:r>
              <a:rPr lang="fr-FR" sz="1400" i="1" dirty="0">
                <a:latin typeface="+mj-lt"/>
              </a:rPr>
              <a:t>ex parte </a:t>
            </a:r>
            <a:r>
              <a:rPr lang="fr-FR" sz="1400" dirty="0">
                <a:latin typeface="+mj-lt"/>
              </a:rPr>
              <a:t>et se réserver le droit d'être entendu.</a:t>
            </a:r>
          </a:p>
          <a:p>
            <a:pPr lvl="2" algn="just">
              <a:lnSpc>
                <a:spcPct val="150000"/>
              </a:lnSpc>
              <a:spcBef>
                <a:spcPts val="0"/>
              </a:spcBef>
            </a:pPr>
            <a:endParaRPr lang="fr-FR" sz="1400" dirty="0">
              <a:latin typeface="+mj-lt"/>
            </a:endParaRPr>
          </a:p>
          <a:p>
            <a:pPr lvl="2" algn="just">
              <a:lnSpc>
                <a:spcPct val="150000"/>
              </a:lnSpc>
              <a:spcBef>
                <a:spcPts val="0"/>
              </a:spcBef>
            </a:pPr>
            <a:r>
              <a:rPr lang="fr-FR" sz="1400" b="1" dirty="0">
                <a:latin typeface="+mj-lt"/>
              </a:rPr>
              <a:t>R. 207 </a:t>
            </a:r>
            <a:r>
              <a:rPr lang="fr-FR" sz="1400" b="1" dirty="0" err="1">
                <a:latin typeface="+mj-lt"/>
              </a:rPr>
              <a:t>UPCARoP</a:t>
            </a:r>
            <a:r>
              <a:rPr lang="fr-FR" sz="1400" b="1" dirty="0">
                <a:latin typeface="+mj-lt"/>
              </a:rPr>
              <a:t> - Conditions</a:t>
            </a:r>
          </a:p>
          <a:p>
            <a:pPr lvl="3" algn="just">
              <a:lnSpc>
                <a:spcPct val="150000"/>
              </a:lnSpc>
              <a:spcBef>
                <a:spcPts val="0"/>
              </a:spcBef>
            </a:pPr>
            <a:r>
              <a:rPr lang="fr-FR" sz="1400" dirty="0">
                <a:latin typeface="+mj-lt"/>
              </a:rPr>
              <a:t>Déposée au registre</a:t>
            </a:r>
          </a:p>
          <a:p>
            <a:pPr lvl="3" algn="just">
              <a:lnSpc>
                <a:spcPct val="150000"/>
              </a:lnSpc>
              <a:spcBef>
                <a:spcPts val="0"/>
              </a:spcBef>
            </a:pPr>
            <a:r>
              <a:rPr lang="fr-FR" sz="1400" dirty="0">
                <a:latin typeface="+mj-lt"/>
              </a:rPr>
              <a:t>Dans la langue du brevet</a:t>
            </a:r>
          </a:p>
          <a:p>
            <a:pPr marL="1074738" lvl="4" indent="-176213" algn="just">
              <a:lnSpc>
                <a:spcPct val="150000"/>
              </a:lnSpc>
              <a:spcBef>
                <a:spcPts val="0"/>
              </a:spcBef>
            </a:pPr>
            <a:r>
              <a:rPr lang="fr-FR" sz="1400" dirty="0">
                <a:latin typeface="+mj-lt"/>
              </a:rPr>
              <a:t>La lettre doit </a:t>
            </a:r>
          </a:p>
          <a:p>
            <a:pPr marL="1341438" lvl="5" indent="-266700" algn="just">
              <a:lnSpc>
                <a:spcPct val="150000"/>
              </a:lnSpc>
              <a:spcBef>
                <a:spcPts val="0"/>
              </a:spcBef>
            </a:pPr>
            <a:r>
              <a:rPr lang="fr-FR" sz="1400" dirty="0">
                <a:latin typeface="+mj-lt"/>
              </a:rPr>
              <a:t>Indiquer qu'il s'agit d'une lettre de protection</a:t>
            </a:r>
          </a:p>
          <a:p>
            <a:pPr marL="1341438" lvl="5" indent="-266700" algn="just">
              <a:lnSpc>
                <a:spcPct val="150000"/>
              </a:lnSpc>
              <a:spcBef>
                <a:spcPts val="0"/>
              </a:spcBef>
            </a:pPr>
            <a:r>
              <a:rPr lang="fr-FR" sz="1400" dirty="0">
                <a:latin typeface="+mj-lt"/>
              </a:rPr>
              <a:t>désigner le déposant de la lettre de protection et le demandeur présumé des mesures d'interdiction</a:t>
            </a:r>
          </a:p>
          <a:p>
            <a:pPr marL="1341438" lvl="5" indent="-266700" algn="just">
              <a:lnSpc>
                <a:spcPct val="150000"/>
              </a:lnSpc>
              <a:spcBef>
                <a:spcPts val="0"/>
              </a:spcBef>
            </a:pPr>
            <a:r>
              <a:rPr lang="fr-FR" sz="1400" dirty="0">
                <a:latin typeface="+mj-lt"/>
              </a:rPr>
              <a:t>Si disponible, le numéro du brevet concerné</a:t>
            </a:r>
          </a:p>
          <a:p>
            <a:pPr lvl="2" algn="just">
              <a:lnSpc>
                <a:spcPct val="150000"/>
              </a:lnSpc>
              <a:spcBef>
                <a:spcPts val="0"/>
              </a:spcBef>
            </a:pPr>
            <a:endParaRPr lang="fr-FR" sz="1400" dirty="0">
              <a:latin typeface="+mj-lt"/>
            </a:endParaRPr>
          </a:p>
        </p:txBody>
      </p:sp>
      <p:sp>
        <p:nvSpPr>
          <p:cNvPr id="15" name="Subtitle 5">
            <a:extLst>
              <a:ext uri="{FF2B5EF4-FFF2-40B4-BE49-F238E27FC236}">
                <a16:creationId xmlns:a16="http://schemas.microsoft.com/office/drawing/2014/main" id="{9AE83C6F-6BB7-4C25-AA51-07AA93543493}"/>
              </a:ext>
            </a:extLst>
          </p:cNvPr>
          <p:cNvSpPr>
            <a:spLocks noGrp="1"/>
          </p:cNvSpPr>
          <p:nvPr>
            <p:ph type="subTitle" idx="12"/>
          </p:nvPr>
        </p:nvSpPr>
        <p:spPr>
          <a:xfrm>
            <a:off x="749297" y="817550"/>
            <a:ext cx="7596189" cy="377790"/>
          </a:xfrm>
        </p:spPr>
        <p:txBody>
          <a:bodyPr/>
          <a:lstStyle/>
          <a:p>
            <a:r>
              <a:rPr lang="fr-FR" sz="2400" dirty="0">
                <a:latin typeface="+mj-lt"/>
              </a:rPr>
              <a:t>La lettre de protection ("Protective </a:t>
            </a:r>
            <a:r>
              <a:rPr lang="fr-FR" sz="2400" dirty="0" err="1">
                <a:latin typeface="+mj-lt"/>
              </a:rPr>
              <a:t>letter</a:t>
            </a:r>
            <a:r>
              <a:rPr lang="fr-FR" sz="2400" dirty="0">
                <a:latin typeface="+mj-lt"/>
              </a:rPr>
              <a:t>")</a:t>
            </a:r>
            <a:endParaRPr lang="en-GB" dirty="0"/>
          </a:p>
        </p:txBody>
      </p:sp>
      <p:sp>
        <p:nvSpPr>
          <p:cNvPr id="16" name="Title 6">
            <a:extLst>
              <a:ext uri="{FF2B5EF4-FFF2-40B4-BE49-F238E27FC236}">
                <a16:creationId xmlns:a16="http://schemas.microsoft.com/office/drawing/2014/main" id="{9460FE72-549E-4166-9647-40CCAF228275}"/>
              </a:ext>
            </a:extLst>
          </p:cNvPr>
          <p:cNvSpPr>
            <a:spLocks noGrp="1"/>
          </p:cNvSpPr>
          <p:nvPr>
            <p:ph type="title"/>
          </p:nvPr>
        </p:nvSpPr>
        <p:spPr>
          <a:xfrm>
            <a:off x="749297" y="348915"/>
            <a:ext cx="9564346" cy="377790"/>
          </a:xfrm>
        </p:spPr>
        <p:txBody>
          <a:bodyPr/>
          <a:lstStyle/>
          <a:p>
            <a:r>
              <a:rPr lang="fr-FR" sz="3200" dirty="0"/>
              <a:t>Les interdictions provisoires devant la JUB</a:t>
            </a:r>
            <a:endParaRPr lang="en-GB" sz="3200" dirty="0"/>
          </a:p>
        </p:txBody>
      </p:sp>
      <p:sp>
        <p:nvSpPr>
          <p:cNvPr id="7" name="Footer Placeholder 2">
            <a:extLst>
              <a:ext uri="{FF2B5EF4-FFF2-40B4-BE49-F238E27FC236}">
                <a16:creationId xmlns:a16="http://schemas.microsoft.com/office/drawing/2014/main" id="{4931B80A-2C43-47AF-9437-16FB6A24EED0}"/>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22767417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33318E1-E4D0-4871-B932-B07D2966B661}"/>
              </a:ext>
            </a:extLst>
          </p:cNvPr>
          <p:cNvSpPr>
            <a:spLocks noGrp="1"/>
          </p:cNvSpPr>
          <p:nvPr>
            <p:ph idx="13"/>
          </p:nvPr>
        </p:nvSpPr>
        <p:spPr>
          <a:xfrm>
            <a:off x="6170770" y="1841455"/>
            <a:ext cx="5286376" cy="4006800"/>
          </a:xfrm>
        </p:spPr>
        <p:txBody>
          <a:bodyPr/>
          <a:lstStyle/>
          <a:p>
            <a:pPr lvl="1"/>
            <a:r>
              <a:rPr lang="fr-FR" dirty="0">
                <a:latin typeface="+mj-lt"/>
              </a:rPr>
              <a:t>payer la </a:t>
            </a:r>
            <a:r>
              <a:rPr lang="fr-FR" b="1" dirty="0">
                <a:latin typeface="+mj-lt"/>
              </a:rPr>
              <a:t>taxe</a:t>
            </a:r>
            <a:r>
              <a:rPr lang="fr-FR" dirty="0">
                <a:latin typeface="+mj-lt"/>
              </a:rPr>
              <a:t> de dépôt </a:t>
            </a:r>
          </a:p>
          <a:p>
            <a:pPr lvl="2"/>
            <a:r>
              <a:rPr lang="fr-FR" dirty="0">
                <a:latin typeface="+mj-lt"/>
              </a:rPr>
              <a:t>200€</a:t>
            </a:r>
          </a:p>
          <a:p>
            <a:pPr lvl="2"/>
            <a:r>
              <a:rPr lang="fr-FR" dirty="0">
                <a:latin typeface="+mj-lt"/>
              </a:rPr>
              <a:t>Pour 6 mois, prolongeable</a:t>
            </a:r>
          </a:p>
          <a:p>
            <a:pPr lvl="1"/>
            <a:endParaRPr lang="fr-FR" dirty="0">
              <a:latin typeface="+mj-lt"/>
            </a:endParaRPr>
          </a:p>
          <a:p>
            <a:pPr lvl="1"/>
            <a:r>
              <a:rPr lang="fr-FR" dirty="0">
                <a:latin typeface="+mj-lt"/>
              </a:rPr>
              <a:t>Reste </a:t>
            </a:r>
            <a:r>
              <a:rPr lang="fr-FR" b="1" dirty="0">
                <a:latin typeface="+mj-lt"/>
              </a:rPr>
              <a:t>confidentielle</a:t>
            </a:r>
          </a:p>
          <a:p>
            <a:endParaRPr lang="fr-FR" dirty="0"/>
          </a:p>
        </p:txBody>
      </p:sp>
      <p:sp>
        <p:nvSpPr>
          <p:cNvPr id="4" name="Content Placeholder 3">
            <a:extLst>
              <a:ext uri="{FF2B5EF4-FFF2-40B4-BE49-F238E27FC236}">
                <a16:creationId xmlns:a16="http://schemas.microsoft.com/office/drawing/2014/main" id="{84803D96-66ED-4438-9AC1-ABA0F3E32EC9}"/>
              </a:ext>
            </a:extLst>
          </p:cNvPr>
          <p:cNvSpPr>
            <a:spLocks noGrp="1"/>
          </p:cNvSpPr>
          <p:nvPr>
            <p:ph idx="1"/>
          </p:nvPr>
        </p:nvSpPr>
        <p:spPr>
          <a:xfrm>
            <a:off x="719136" y="1841455"/>
            <a:ext cx="5286376" cy="4006800"/>
          </a:xfrm>
        </p:spPr>
        <p:txBody>
          <a:bodyPr/>
          <a:lstStyle/>
          <a:p>
            <a:pPr lvl="1"/>
            <a:r>
              <a:rPr lang="fr-FR" sz="1400" b="1" dirty="0">
                <a:latin typeface="+mj-lt"/>
              </a:rPr>
              <a:t>R. 207 </a:t>
            </a:r>
            <a:r>
              <a:rPr lang="fr-FR" sz="1400" b="1" dirty="0" err="1">
                <a:latin typeface="+mj-lt"/>
              </a:rPr>
              <a:t>UPCARoP</a:t>
            </a:r>
            <a:r>
              <a:rPr lang="fr-FR" sz="1400" b="1" dirty="0">
                <a:latin typeface="+mj-lt"/>
              </a:rPr>
              <a:t> - Contenu</a:t>
            </a:r>
          </a:p>
          <a:p>
            <a:pPr lvl="5"/>
            <a:r>
              <a:rPr lang="fr-FR" sz="1400" b="1" dirty="0">
                <a:latin typeface="+mj-lt"/>
              </a:rPr>
              <a:t>Faits invoqués</a:t>
            </a:r>
            <a:r>
              <a:rPr lang="fr-FR" sz="1400" dirty="0">
                <a:latin typeface="+mj-lt"/>
              </a:rPr>
              <a:t>, qui peut inclure une contestation des faits censés être invoqués par le demandeur présumé et/ou, le cas échéant, toute affirmation selon laquelle le brevet est invalide et les motifs de cette affirmation ;</a:t>
            </a:r>
          </a:p>
          <a:p>
            <a:pPr lvl="5"/>
            <a:r>
              <a:rPr lang="fr-FR" sz="1400" b="1" dirty="0">
                <a:latin typeface="+mj-lt"/>
              </a:rPr>
              <a:t>Toute preuve écrite </a:t>
            </a:r>
            <a:r>
              <a:rPr lang="fr-FR" sz="1400" dirty="0">
                <a:latin typeface="+mj-lt"/>
              </a:rPr>
              <a:t>disponible invoquée ;</a:t>
            </a:r>
          </a:p>
          <a:p>
            <a:pPr lvl="5"/>
            <a:r>
              <a:rPr lang="fr-FR" sz="1400" b="1" dirty="0">
                <a:latin typeface="+mj-lt"/>
              </a:rPr>
              <a:t>Les arguments de droit</a:t>
            </a:r>
            <a:r>
              <a:rPr lang="fr-FR" sz="1400" dirty="0">
                <a:latin typeface="+mj-lt"/>
              </a:rPr>
              <a:t>, y compris les raisons pour lesquelles toute demande de mesures provisoires devrait être rejetée.</a:t>
            </a:r>
          </a:p>
          <a:p>
            <a:pPr lvl="5"/>
            <a:endParaRPr lang="fr-FR" sz="1400" dirty="0">
              <a:latin typeface="+mj-lt"/>
            </a:endParaRPr>
          </a:p>
        </p:txBody>
      </p:sp>
      <p:sp>
        <p:nvSpPr>
          <p:cNvPr id="15" name="Subtitle 5">
            <a:extLst>
              <a:ext uri="{FF2B5EF4-FFF2-40B4-BE49-F238E27FC236}">
                <a16:creationId xmlns:a16="http://schemas.microsoft.com/office/drawing/2014/main" id="{9AE83C6F-6BB7-4C25-AA51-07AA93543493}"/>
              </a:ext>
            </a:extLst>
          </p:cNvPr>
          <p:cNvSpPr>
            <a:spLocks noGrp="1"/>
          </p:cNvSpPr>
          <p:nvPr>
            <p:ph type="subTitle" idx="12"/>
          </p:nvPr>
        </p:nvSpPr>
        <p:spPr>
          <a:xfrm>
            <a:off x="719136" y="843272"/>
            <a:ext cx="9110663" cy="756000"/>
          </a:xfrm>
        </p:spPr>
        <p:txBody>
          <a:bodyPr/>
          <a:lstStyle/>
          <a:p>
            <a:r>
              <a:rPr lang="fr-FR" dirty="0"/>
              <a:t>Règles d'appréciation </a:t>
            </a:r>
            <a:endParaRPr lang="en-GB" dirty="0"/>
          </a:p>
        </p:txBody>
      </p:sp>
      <p:sp>
        <p:nvSpPr>
          <p:cNvPr id="16" name="Title 6">
            <a:extLst>
              <a:ext uri="{FF2B5EF4-FFF2-40B4-BE49-F238E27FC236}">
                <a16:creationId xmlns:a16="http://schemas.microsoft.com/office/drawing/2014/main" id="{9460FE72-549E-4166-9647-40CCAF228275}"/>
              </a:ext>
            </a:extLst>
          </p:cNvPr>
          <p:cNvSpPr>
            <a:spLocks noGrp="1"/>
          </p:cNvSpPr>
          <p:nvPr>
            <p:ph type="title"/>
          </p:nvPr>
        </p:nvSpPr>
        <p:spPr>
          <a:xfrm>
            <a:off x="719136" y="372380"/>
            <a:ext cx="9110663" cy="720000"/>
          </a:xfrm>
        </p:spPr>
        <p:txBody>
          <a:bodyPr/>
          <a:lstStyle/>
          <a:p>
            <a:r>
              <a:rPr lang="fr-FR" sz="3200" dirty="0"/>
              <a:t>Les interdictions provisoires devant la JUB</a:t>
            </a:r>
            <a:endParaRPr lang="en-GB" sz="3200" dirty="0"/>
          </a:p>
        </p:txBody>
      </p:sp>
      <p:sp>
        <p:nvSpPr>
          <p:cNvPr id="14" name="Content Placeholder 4">
            <a:extLst>
              <a:ext uri="{FF2B5EF4-FFF2-40B4-BE49-F238E27FC236}">
                <a16:creationId xmlns:a16="http://schemas.microsoft.com/office/drawing/2014/main" id="{ADA9D8D7-CFA2-477B-98B1-A06F888C6B05}"/>
              </a:ext>
            </a:extLst>
          </p:cNvPr>
          <p:cNvSpPr txBox="1">
            <a:spLocks/>
          </p:cNvSpPr>
          <p:nvPr/>
        </p:nvSpPr>
        <p:spPr>
          <a:xfrm>
            <a:off x="658175" y="1663975"/>
            <a:ext cx="11025190" cy="4747352"/>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2" algn="just">
              <a:lnSpc>
                <a:spcPct val="150000"/>
              </a:lnSpc>
              <a:spcBef>
                <a:spcPts val="0"/>
              </a:spcBef>
            </a:pPr>
            <a:endParaRPr lang="fr-FR" sz="1400" dirty="0">
              <a:latin typeface="+mj-lt"/>
            </a:endParaRPr>
          </a:p>
        </p:txBody>
      </p:sp>
      <p:sp>
        <p:nvSpPr>
          <p:cNvPr id="9" name="Footer Placeholder 2">
            <a:extLst>
              <a:ext uri="{FF2B5EF4-FFF2-40B4-BE49-F238E27FC236}">
                <a16:creationId xmlns:a16="http://schemas.microsoft.com/office/drawing/2014/main" id="{1174C124-C59D-442D-AD6C-A7A654E0E01D}"/>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33560006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6D65BF3-4C4B-4000-AFC3-A20DDD8629DE}"/>
              </a:ext>
            </a:extLst>
          </p:cNvPr>
          <p:cNvSpPr>
            <a:spLocks noGrp="1"/>
          </p:cNvSpPr>
          <p:nvPr>
            <p:ph idx="1"/>
          </p:nvPr>
        </p:nvSpPr>
        <p:spPr>
          <a:xfrm>
            <a:off x="642937" y="1816418"/>
            <a:ext cx="10752137" cy="4006800"/>
          </a:xfrm>
        </p:spPr>
        <p:txBody>
          <a:bodyPr/>
          <a:lstStyle/>
          <a:p>
            <a:pPr lvl="1" algn="just">
              <a:lnSpc>
                <a:spcPct val="150000"/>
              </a:lnSpc>
              <a:spcBef>
                <a:spcPts val="0"/>
              </a:spcBef>
            </a:pPr>
            <a:r>
              <a:rPr lang="fr-FR" sz="1400" b="1" dirty="0">
                <a:latin typeface="+mj-lt"/>
              </a:rPr>
              <a:t>Délai pour agir au fond - A. 62(5) &amp; 60(8) UPCA (</a:t>
            </a:r>
            <a:r>
              <a:rPr lang="fr-FR" sz="1400" b="1" dirty="0" err="1">
                <a:latin typeface="+mj-lt"/>
              </a:rPr>
              <a:t>Dir</a:t>
            </a:r>
            <a:r>
              <a:rPr lang="fr-FR" sz="1400" b="1" dirty="0">
                <a:latin typeface="+mj-lt"/>
              </a:rPr>
              <a:t>. 2004/48/CE)</a:t>
            </a:r>
          </a:p>
          <a:p>
            <a:pPr lvl="2" algn="just">
              <a:lnSpc>
                <a:spcPct val="150000"/>
              </a:lnSpc>
              <a:spcBef>
                <a:spcPts val="0"/>
              </a:spcBef>
            </a:pPr>
            <a:r>
              <a:rPr lang="fr-FR" sz="1400" dirty="0">
                <a:latin typeface="+mj-lt"/>
              </a:rPr>
              <a:t>Les mesures sont révoquées ou cessent de produire leurs effets, à la demande du défendeur, sans préjudice des dommages-intérêts qui peuvent être réclamés, si le requérant n'introduit pas, dans un délai n'excédant pas </a:t>
            </a:r>
            <a:r>
              <a:rPr lang="fr-FR" sz="1400" b="1" dirty="0">
                <a:latin typeface="+mj-lt"/>
              </a:rPr>
              <a:t>31 jours civils ou 20 jours ouvrables</a:t>
            </a:r>
            <a:r>
              <a:rPr lang="fr-FR" sz="1400" dirty="0">
                <a:latin typeface="+mj-lt"/>
              </a:rPr>
              <a:t>, le délai le plus long étant retenu, une action conduisant à une décision sur le fond de l'affaire.</a:t>
            </a:r>
          </a:p>
          <a:p>
            <a:pPr lvl="1" algn="just">
              <a:lnSpc>
                <a:spcPct val="150000"/>
              </a:lnSpc>
              <a:spcBef>
                <a:spcPts val="0"/>
              </a:spcBef>
            </a:pPr>
            <a:endParaRPr lang="fr-FR" sz="1400" dirty="0">
              <a:latin typeface="+mj-lt"/>
            </a:endParaRPr>
          </a:p>
          <a:p>
            <a:pPr lvl="1" algn="just">
              <a:lnSpc>
                <a:spcPct val="150000"/>
              </a:lnSpc>
              <a:spcBef>
                <a:spcPts val="0"/>
              </a:spcBef>
            </a:pPr>
            <a:r>
              <a:rPr lang="fr-FR" sz="1400" b="1" dirty="0">
                <a:latin typeface="+mj-lt"/>
              </a:rPr>
              <a:t>Recours possible</a:t>
            </a:r>
            <a:endParaRPr lang="fr-FR" sz="1400" dirty="0">
              <a:latin typeface="+mj-lt"/>
            </a:endParaRPr>
          </a:p>
          <a:p>
            <a:pPr lvl="2" algn="just">
              <a:lnSpc>
                <a:spcPct val="150000"/>
              </a:lnSpc>
              <a:spcBef>
                <a:spcPts val="0"/>
              </a:spcBef>
            </a:pPr>
            <a:r>
              <a:rPr lang="fr-FR" sz="1400" dirty="0">
                <a:latin typeface="+mj-lt"/>
              </a:rPr>
              <a:t>La possibilité d'appel est mentionné dans l'ordonnance (R. 211.6 </a:t>
            </a:r>
            <a:r>
              <a:rPr lang="fr-FR" sz="1400" dirty="0" err="1">
                <a:latin typeface="+mj-lt"/>
              </a:rPr>
              <a:t>UPCARoP</a:t>
            </a:r>
            <a:r>
              <a:rPr lang="fr-FR" sz="1400" dirty="0">
                <a:latin typeface="+mj-lt"/>
              </a:rPr>
              <a:t>).</a:t>
            </a:r>
          </a:p>
          <a:p>
            <a:pPr lvl="2" algn="just">
              <a:lnSpc>
                <a:spcPct val="150000"/>
              </a:lnSpc>
              <a:spcBef>
                <a:spcPts val="0"/>
              </a:spcBef>
            </a:pPr>
            <a:r>
              <a:rPr lang="fr-FR" sz="1400" dirty="0">
                <a:latin typeface="+mj-lt"/>
              </a:rPr>
              <a:t>Lorsque des mesures sont ordonnées sans que l'autre partie à l'affaire ait été entendue, un réexamen ("</a:t>
            </a:r>
            <a:r>
              <a:rPr lang="fr-FR" sz="1400" i="1" dirty="0">
                <a:latin typeface="+mj-lt"/>
              </a:rPr>
              <a:t>review</a:t>
            </a:r>
            <a:r>
              <a:rPr lang="fr-FR" sz="1400" dirty="0">
                <a:latin typeface="+mj-lt"/>
              </a:rPr>
              <a:t>"), </a:t>
            </a:r>
            <a:r>
              <a:rPr lang="fr-FR" sz="1400" b="1" dirty="0">
                <a:latin typeface="+mj-lt"/>
              </a:rPr>
              <a:t>y compris le droit d'être entendu</a:t>
            </a:r>
            <a:r>
              <a:rPr lang="fr-FR" sz="1400" dirty="0">
                <a:latin typeface="+mj-lt"/>
              </a:rPr>
              <a:t>, a lieu à la demande des parties concernées en vue de décider, dans un délai raisonnable après la notification des mesures, si celles-ci doivent être modifiées, révoquées ou confirmées. (A. 62(5) – 60(6) UPCA).</a:t>
            </a:r>
          </a:p>
        </p:txBody>
      </p:sp>
      <p:sp>
        <p:nvSpPr>
          <p:cNvPr id="15" name="Subtitle 5">
            <a:extLst>
              <a:ext uri="{FF2B5EF4-FFF2-40B4-BE49-F238E27FC236}">
                <a16:creationId xmlns:a16="http://schemas.microsoft.com/office/drawing/2014/main" id="{9AE83C6F-6BB7-4C25-AA51-07AA93543493}"/>
              </a:ext>
            </a:extLst>
          </p:cNvPr>
          <p:cNvSpPr>
            <a:spLocks noGrp="1"/>
          </p:cNvSpPr>
          <p:nvPr>
            <p:ph type="subTitle" idx="12"/>
          </p:nvPr>
        </p:nvSpPr>
        <p:spPr>
          <a:xfrm>
            <a:off x="719137" y="793316"/>
            <a:ext cx="10020301" cy="756000"/>
          </a:xfrm>
        </p:spPr>
        <p:txBody>
          <a:bodyPr/>
          <a:lstStyle/>
          <a:p>
            <a:r>
              <a:rPr lang="fr-FR" dirty="0"/>
              <a:t>Si la mesure est ordonnée… </a:t>
            </a:r>
            <a:endParaRPr lang="en-GB" dirty="0"/>
          </a:p>
        </p:txBody>
      </p:sp>
      <p:sp>
        <p:nvSpPr>
          <p:cNvPr id="16" name="Title 6">
            <a:extLst>
              <a:ext uri="{FF2B5EF4-FFF2-40B4-BE49-F238E27FC236}">
                <a16:creationId xmlns:a16="http://schemas.microsoft.com/office/drawing/2014/main" id="{9460FE72-549E-4166-9647-40CCAF228275}"/>
              </a:ext>
            </a:extLst>
          </p:cNvPr>
          <p:cNvSpPr>
            <a:spLocks noGrp="1"/>
          </p:cNvSpPr>
          <p:nvPr>
            <p:ph type="title"/>
          </p:nvPr>
        </p:nvSpPr>
        <p:spPr>
          <a:xfrm>
            <a:off x="719137" y="451316"/>
            <a:ext cx="9110663" cy="720000"/>
          </a:xfrm>
        </p:spPr>
        <p:txBody>
          <a:bodyPr/>
          <a:lstStyle/>
          <a:p>
            <a:r>
              <a:rPr lang="fr-FR" sz="3200" dirty="0"/>
              <a:t>Les interdictions provisoires devant la JUB</a:t>
            </a:r>
            <a:endParaRPr lang="en-GB" sz="3200" dirty="0"/>
          </a:p>
        </p:txBody>
      </p:sp>
      <p:sp>
        <p:nvSpPr>
          <p:cNvPr id="9" name="Footer Placeholder 2">
            <a:extLst>
              <a:ext uri="{FF2B5EF4-FFF2-40B4-BE49-F238E27FC236}">
                <a16:creationId xmlns:a16="http://schemas.microsoft.com/office/drawing/2014/main" id="{F590F403-8462-423F-9E19-6D736430DDD7}"/>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2542476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4">
            <a:extLst>
              <a:ext uri="{FF2B5EF4-FFF2-40B4-BE49-F238E27FC236}">
                <a16:creationId xmlns:a16="http://schemas.microsoft.com/office/drawing/2014/main" id="{ADA9D8D7-CFA2-477B-98B1-A06F888C6B05}"/>
              </a:ext>
            </a:extLst>
          </p:cNvPr>
          <p:cNvSpPr txBox="1">
            <a:spLocks/>
          </p:cNvSpPr>
          <p:nvPr/>
        </p:nvSpPr>
        <p:spPr>
          <a:xfrm>
            <a:off x="719136" y="1386748"/>
            <a:ext cx="11025190" cy="4747352"/>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lgn="just">
              <a:lnSpc>
                <a:spcPct val="150000"/>
              </a:lnSpc>
              <a:spcBef>
                <a:spcPts val="0"/>
              </a:spcBef>
            </a:pPr>
            <a:r>
              <a:rPr lang="fr-FR" sz="1400" b="1" dirty="0">
                <a:latin typeface="+mj-lt"/>
              </a:rPr>
              <a:t>R. 209(4) </a:t>
            </a:r>
            <a:r>
              <a:rPr lang="fr-FR" sz="1400" b="1" dirty="0" err="1">
                <a:latin typeface="+mj-lt"/>
              </a:rPr>
              <a:t>UPCARoP</a:t>
            </a:r>
            <a:endParaRPr lang="fr-FR" sz="1400" b="1" dirty="0">
              <a:latin typeface="+mj-lt"/>
            </a:endParaRPr>
          </a:p>
          <a:p>
            <a:pPr lvl="2" algn="just">
              <a:lnSpc>
                <a:spcPct val="150000"/>
              </a:lnSpc>
              <a:spcBef>
                <a:spcPts val="0"/>
              </a:spcBef>
            </a:pPr>
            <a:r>
              <a:rPr lang="fr-FR" sz="1400" dirty="0">
                <a:latin typeface="+mj-lt"/>
              </a:rPr>
              <a:t>Si le demandeur a sollicité des mesures provisoires </a:t>
            </a:r>
            <a:r>
              <a:rPr lang="fr-FR" sz="1400" b="1" dirty="0">
                <a:latin typeface="+mj-lt"/>
              </a:rPr>
              <a:t>sans entendre le défendeur </a:t>
            </a:r>
            <a:r>
              <a:rPr lang="fr-FR" sz="1400" dirty="0">
                <a:latin typeface="+mj-lt"/>
              </a:rPr>
              <a:t>et </a:t>
            </a:r>
          </a:p>
          <a:p>
            <a:pPr lvl="2" algn="just">
              <a:lnSpc>
                <a:spcPct val="150000"/>
              </a:lnSpc>
              <a:spcBef>
                <a:spcPts val="0"/>
              </a:spcBef>
            </a:pPr>
            <a:r>
              <a:rPr lang="fr-FR" sz="1400" dirty="0">
                <a:latin typeface="+mj-lt"/>
              </a:rPr>
              <a:t>que la Cour décide de ne pas accorder de mesures provisoires sans entendre le défendeur, </a:t>
            </a:r>
          </a:p>
          <a:p>
            <a:pPr lvl="2" algn="just">
              <a:lnSpc>
                <a:spcPct val="150000"/>
              </a:lnSpc>
              <a:spcBef>
                <a:spcPts val="0"/>
              </a:spcBef>
            </a:pPr>
            <a:r>
              <a:rPr lang="fr-FR" sz="1400" dirty="0">
                <a:latin typeface="+mj-lt"/>
              </a:rPr>
              <a:t>le </a:t>
            </a:r>
            <a:r>
              <a:rPr lang="fr-FR" sz="1400" b="1" dirty="0">
                <a:latin typeface="+mj-lt"/>
              </a:rPr>
              <a:t>demandeur peut retirer sa requête </a:t>
            </a:r>
            <a:r>
              <a:rPr lang="fr-FR" sz="1400" dirty="0">
                <a:latin typeface="+mj-lt"/>
              </a:rPr>
              <a:t>et demander à la Cour d'ordonner que la demande et son contenu restent confidentiels.</a:t>
            </a:r>
          </a:p>
          <a:p>
            <a:pPr lvl="1" algn="just">
              <a:lnSpc>
                <a:spcPct val="150000"/>
              </a:lnSpc>
              <a:spcBef>
                <a:spcPts val="0"/>
              </a:spcBef>
            </a:pPr>
            <a:endParaRPr lang="fr-FR" sz="1400" dirty="0">
              <a:latin typeface="+mj-lt"/>
            </a:endParaRPr>
          </a:p>
          <a:p>
            <a:pPr lvl="1" algn="just">
              <a:lnSpc>
                <a:spcPct val="150000"/>
              </a:lnSpc>
              <a:spcBef>
                <a:spcPts val="0"/>
              </a:spcBef>
            </a:pPr>
            <a:r>
              <a:rPr lang="fr-FR" sz="1400" b="1" dirty="0">
                <a:latin typeface="+mj-lt"/>
              </a:rPr>
              <a:t>R. 209(5) </a:t>
            </a:r>
            <a:r>
              <a:rPr lang="fr-FR" sz="1400" b="1" dirty="0" err="1">
                <a:latin typeface="+mj-lt"/>
              </a:rPr>
              <a:t>UPCARoP</a:t>
            </a:r>
            <a:endParaRPr lang="fr-FR" sz="1400" b="1" dirty="0">
              <a:latin typeface="+mj-lt"/>
            </a:endParaRPr>
          </a:p>
          <a:p>
            <a:pPr lvl="2" algn="just">
              <a:lnSpc>
                <a:spcPct val="150000"/>
              </a:lnSpc>
              <a:spcBef>
                <a:spcPts val="0"/>
              </a:spcBef>
            </a:pPr>
            <a:r>
              <a:rPr lang="fr-FR" sz="1400" dirty="0">
                <a:latin typeface="+mj-lt"/>
              </a:rPr>
              <a:t>Si le brevet faisant l'objet de la demande fait également l'objet d'une </a:t>
            </a:r>
            <a:r>
              <a:rPr lang="fr-FR" sz="1400" b="1" dirty="0">
                <a:latin typeface="+mj-lt"/>
              </a:rPr>
              <a:t>lettre de protection</a:t>
            </a:r>
            <a:r>
              <a:rPr lang="fr-FR" sz="1400" dirty="0">
                <a:latin typeface="+mj-lt"/>
              </a:rPr>
              <a:t>,</a:t>
            </a:r>
          </a:p>
          <a:p>
            <a:pPr lvl="2" algn="just">
              <a:lnSpc>
                <a:spcPct val="150000"/>
              </a:lnSpc>
              <a:spcBef>
                <a:spcPts val="0"/>
              </a:spcBef>
            </a:pPr>
            <a:r>
              <a:rPr lang="fr-FR" sz="1400" dirty="0">
                <a:latin typeface="+mj-lt"/>
              </a:rPr>
              <a:t>le </a:t>
            </a:r>
            <a:r>
              <a:rPr lang="fr-FR" sz="1400" b="1" dirty="0">
                <a:latin typeface="+mj-lt"/>
              </a:rPr>
              <a:t>demandeur peut retirer sa requête (idem R. 209(4))</a:t>
            </a:r>
            <a:r>
              <a:rPr lang="fr-FR" sz="1400" dirty="0">
                <a:latin typeface="+mj-lt"/>
              </a:rPr>
              <a:t>.</a:t>
            </a:r>
          </a:p>
        </p:txBody>
      </p:sp>
      <p:sp>
        <p:nvSpPr>
          <p:cNvPr id="15" name="Subtitle 5">
            <a:extLst>
              <a:ext uri="{FF2B5EF4-FFF2-40B4-BE49-F238E27FC236}">
                <a16:creationId xmlns:a16="http://schemas.microsoft.com/office/drawing/2014/main" id="{9AE83C6F-6BB7-4C25-AA51-07AA93543493}"/>
              </a:ext>
            </a:extLst>
          </p:cNvPr>
          <p:cNvSpPr>
            <a:spLocks noGrp="1"/>
          </p:cNvSpPr>
          <p:nvPr>
            <p:ph type="subTitle" idx="12"/>
          </p:nvPr>
        </p:nvSpPr>
        <p:spPr>
          <a:xfrm>
            <a:off x="719135" y="818814"/>
            <a:ext cx="7596189" cy="377790"/>
          </a:xfrm>
        </p:spPr>
        <p:txBody>
          <a:bodyPr/>
          <a:lstStyle/>
          <a:p>
            <a:r>
              <a:rPr lang="fr-FR" dirty="0"/>
              <a:t>Confidentialité – Retrait de la requête</a:t>
            </a:r>
            <a:endParaRPr lang="en-GB" dirty="0"/>
          </a:p>
        </p:txBody>
      </p:sp>
      <p:sp>
        <p:nvSpPr>
          <p:cNvPr id="16" name="Title 6">
            <a:extLst>
              <a:ext uri="{FF2B5EF4-FFF2-40B4-BE49-F238E27FC236}">
                <a16:creationId xmlns:a16="http://schemas.microsoft.com/office/drawing/2014/main" id="{9460FE72-549E-4166-9647-40CCAF228275}"/>
              </a:ext>
            </a:extLst>
          </p:cNvPr>
          <p:cNvSpPr>
            <a:spLocks noGrp="1"/>
          </p:cNvSpPr>
          <p:nvPr>
            <p:ph type="title"/>
          </p:nvPr>
        </p:nvSpPr>
        <p:spPr>
          <a:xfrm>
            <a:off x="719135" y="370597"/>
            <a:ext cx="9564346" cy="377790"/>
          </a:xfrm>
        </p:spPr>
        <p:txBody>
          <a:bodyPr/>
          <a:lstStyle/>
          <a:p>
            <a:r>
              <a:rPr lang="fr-FR" sz="3200" dirty="0"/>
              <a:t>Les interdictions provisoires devant la JUB</a:t>
            </a:r>
            <a:endParaRPr lang="en-GB" sz="3200" dirty="0"/>
          </a:p>
        </p:txBody>
      </p:sp>
      <p:sp>
        <p:nvSpPr>
          <p:cNvPr id="7" name="Footer Placeholder 2">
            <a:extLst>
              <a:ext uri="{FF2B5EF4-FFF2-40B4-BE49-F238E27FC236}">
                <a16:creationId xmlns:a16="http://schemas.microsoft.com/office/drawing/2014/main" id="{354C9F3A-1408-4B0F-971C-C72CB2A30881}"/>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9147986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615028C-37D2-48F3-989E-304DD522A88F}"/>
              </a:ext>
            </a:extLst>
          </p:cNvPr>
          <p:cNvSpPr>
            <a:spLocks noGrp="1"/>
          </p:cNvSpPr>
          <p:nvPr>
            <p:ph type="ftr" sz="quarter" idx="11"/>
          </p:nvPr>
        </p:nvSpPr>
        <p:spPr/>
        <p:txBody>
          <a:bodyPr/>
          <a:lstStyle/>
          <a:p>
            <a:r>
              <a:rPr lang="fr-FR" sz="800" dirty="0"/>
              <a:t>LIFE SCIENCES - Conférence Annuelle – 07 juin 2022</a:t>
            </a:r>
            <a:endParaRPr lang="en-GB" dirty="0"/>
          </a:p>
        </p:txBody>
      </p:sp>
      <p:sp>
        <p:nvSpPr>
          <p:cNvPr id="13" name="Content Placeholder 12">
            <a:extLst>
              <a:ext uri="{FF2B5EF4-FFF2-40B4-BE49-F238E27FC236}">
                <a16:creationId xmlns:a16="http://schemas.microsoft.com/office/drawing/2014/main" id="{2F44C69E-DD7E-4D19-9E70-4364FA61C047}"/>
              </a:ext>
            </a:extLst>
          </p:cNvPr>
          <p:cNvSpPr>
            <a:spLocks noGrp="1"/>
          </p:cNvSpPr>
          <p:nvPr>
            <p:ph idx="1"/>
          </p:nvPr>
        </p:nvSpPr>
        <p:spPr/>
        <p:txBody>
          <a:bodyPr/>
          <a:lstStyle/>
          <a:p>
            <a:pPr algn="just"/>
            <a:r>
              <a:rPr lang="fr-FR" sz="1600" dirty="0">
                <a:solidFill>
                  <a:srgbClr val="323E48"/>
                </a:solidFill>
                <a:effectLst/>
                <a:latin typeface="+mj-lt"/>
              </a:rPr>
              <a:t>Le </a:t>
            </a:r>
            <a:r>
              <a:rPr lang="fr-FR" sz="1600" b="1" dirty="0">
                <a:solidFill>
                  <a:srgbClr val="323E48"/>
                </a:solidFill>
                <a:effectLst/>
                <a:latin typeface="+mj-lt"/>
              </a:rPr>
              <a:t>droit au titre </a:t>
            </a:r>
            <a:r>
              <a:rPr lang="fr-FR" sz="1600" dirty="0">
                <a:solidFill>
                  <a:srgbClr val="323E48"/>
                </a:solidFill>
                <a:effectLst/>
                <a:latin typeface="+mj-lt"/>
              </a:rPr>
              <a:t>de propriété industrielle mentionné à l'article L. 611-1 </a:t>
            </a:r>
            <a:r>
              <a:rPr lang="fr-FR" sz="1600" b="1" dirty="0">
                <a:solidFill>
                  <a:srgbClr val="323E48"/>
                </a:solidFill>
                <a:effectLst/>
                <a:latin typeface="+mj-lt"/>
              </a:rPr>
              <a:t>appartient à l'inventeur </a:t>
            </a:r>
            <a:r>
              <a:rPr lang="fr-FR" sz="1600" dirty="0">
                <a:solidFill>
                  <a:srgbClr val="323E48"/>
                </a:solidFill>
                <a:effectLst/>
                <a:latin typeface="+mj-lt"/>
              </a:rPr>
              <a:t>ou à son ayant cause.</a:t>
            </a:r>
            <a:endParaRPr lang="fr-FR" dirty="0"/>
          </a:p>
        </p:txBody>
      </p:sp>
      <p:sp>
        <p:nvSpPr>
          <p:cNvPr id="14" name="Subtitle 13">
            <a:extLst>
              <a:ext uri="{FF2B5EF4-FFF2-40B4-BE49-F238E27FC236}">
                <a16:creationId xmlns:a16="http://schemas.microsoft.com/office/drawing/2014/main" id="{4C9BE118-E1C0-416C-8535-044768133D1C}"/>
              </a:ext>
            </a:extLst>
          </p:cNvPr>
          <p:cNvSpPr>
            <a:spLocks noGrp="1"/>
          </p:cNvSpPr>
          <p:nvPr>
            <p:ph type="subTitle" idx="12"/>
          </p:nvPr>
        </p:nvSpPr>
        <p:spPr/>
        <p:txBody>
          <a:bodyPr/>
          <a:lstStyle/>
          <a:p>
            <a:r>
              <a:rPr lang="fr-FR" sz="2400" dirty="0"/>
              <a:t>Article L. 611-6 Code de la propriété intellectuelle</a:t>
            </a:r>
            <a:endParaRPr lang="en-GB" sz="2400" dirty="0"/>
          </a:p>
          <a:p>
            <a:endParaRPr lang="fr-FR" dirty="0"/>
          </a:p>
        </p:txBody>
      </p:sp>
      <p:sp>
        <p:nvSpPr>
          <p:cNvPr id="12" name="Title 11">
            <a:extLst>
              <a:ext uri="{FF2B5EF4-FFF2-40B4-BE49-F238E27FC236}">
                <a16:creationId xmlns:a16="http://schemas.microsoft.com/office/drawing/2014/main" id="{9244EF4F-B577-4E89-AEC7-0185D0A8370E}"/>
              </a:ext>
            </a:extLst>
          </p:cNvPr>
          <p:cNvSpPr>
            <a:spLocks noGrp="1"/>
          </p:cNvSpPr>
          <p:nvPr>
            <p:ph type="title"/>
          </p:nvPr>
        </p:nvSpPr>
        <p:spPr/>
        <p:txBody>
          <a:bodyPr/>
          <a:lstStyle/>
          <a:p>
            <a:r>
              <a:rPr lang="fr-FR" sz="4000" dirty="0"/>
              <a:t>Principe</a:t>
            </a:r>
            <a:endParaRPr lang="fr-FR" dirty="0"/>
          </a:p>
        </p:txBody>
      </p:sp>
    </p:spTree>
    <p:extLst>
      <p:ext uri="{BB962C8B-B14F-4D97-AF65-F5344CB8AC3E}">
        <p14:creationId xmlns:p14="http://schemas.microsoft.com/office/powerpoint/2010/main" val="14359390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38C5FA-B014-4339-9570-0D08C80A2A26}"/>
              </a:ext>
            </a:extLst>
          </p:cNvPr>
          <p:cNvSpPr>
            <a:spLocks noGrp="1"/>
          </p:cNvSpPr>
          <p:nvPr>
            <p:ph type="body" sz="quarter" idx="10"/>
          </p:nvPr>
        </p:nvSpPr>
        <p:spPr/>
        <p:txBody>
          <a:bodyPr/>
          <a:lstStyle/>
          <a:p>
            <a:r>
              <a:rPr lang="fr-FR" dirty="0"/>
              <a:t>3</a:t>
            </a:r>
          </a:p>
        </p:txBody>
      </p:sp>
      <p:sp>
        <p:nvSpPr>
          <p:cNvPr id="5" name="Title 4">
            <a:extLst>
              <a:ext uri="{FF2B5EF4-FFF2-40B4-BE49-F238E27FC236}">
                <a16:creationId xmlns:a16="http://schemas.microsoft.com/office/drawing/2014/main" id="{7A9350C1-069C-48F5-9168-A12067379782}"/>
              </a:ext>
            </a:extLst>
          </p:cNvPr>
          <p:cNvSpPr>
            <a:spLocks noGrp="1"/>
          </p:cNvSpPr>
          <p:nvPr>
            <p:ph type="title"/>
          </p:nvPr>
        </p:nvSpPr>
        <p:spPr>
          <a:xfrm>
            <a:off x="809625" y="2993407"/>
            <a:ext cx="5286375" cy="1512000"/>
          </a:xfrm>
        </p:spPr>
        <p:txBody>
          <a:bodyPr/>
          <a:lstStyle/>
          <a:p>
            <a:r>
              <a:rPr lang="fr-BE" dirty="0"/>
              <a:t>Priorité</a:t>
            </a:r>
            <a:br>
              <a:rPr lang="fr-BE" dirty="0"/>
            </a:br>
            <a:endParaRPr lang="fr-BE" dirty="0"/>
          </a:p>
        </p:txBody>
      </p:sp>
      <p:sp>
        <p:nvSpPr>
          <p:cNvPr id="4" name="Footer Placeholder 2">
            <a:extLst>
              <a:ext uri="{FF2B5EF4-FFF2-40B4-BE49-F238E27FC236}">
                <a16:creationId xmlns:a16="http://schemas.microsoft.com/office/drawing/2014/main" id="{56A4E308-0EF4-4DBF-B310-955CCAA1AB89}"/>
              </a:ext>
            </a:extLst>
          </p:cNvPr>
          <p:cNvSpPr txBox="1">
            <a:spLocks/>
          </p:cNvSpPr>
          <p:nvPr/>
        </p:nvSpPr>
        <p:spPr>
          <a:xfrm>
            <a:off x="7096125" y="6393422"/>
            <a:ext cx="4058158" cy="144000"/>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r>
              <a:rPr lang="fr-FR" sz="800"/>
              <a:t>LIFE SCIENCES - Conférence Annuelle – 07 juin 2022</a:t>
            </a:r>
            <a:endParaRPr lang="en-GB" dirty="0"/>
          </a:p>
        </p:txBody>
      </p:sp>
    </p:spTree>
    <p:extLst>
      <p:ext uri="{BB962C8B-B14F-4D97-AF65-F5344CB8AC3E}">
        <p14:creationId xmlns:p14="http://schemas.microsoft.com/office/powerpoint/2010/main" val="39144043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656F526-A4CB-4687-A0FB-85049DEEE473}"/>
              </a:ext>
            </a:extLst>
          </p:cNvPr>
          <p:cNvSpPr>
            <a:spLocks noGrp="1"/>
          </p:cNvSpPr>
          <p:nvPr>
            <p:ph idx="1"/>
          </p:nvPr>
        </p:nvSpPr>
        <p:spPr/>
        <p:txBody>
          <a:bodyPr/>
          <a:lstStyle/>
          <a:p>
            <a:r>
              <a:rPr lang="fr-FR" b="1" dirty="0">
                <a:latin typeface="+mj-lt"/>
              </a:rPr>
              <a:t>Article 87 CBE</a:t>
            </a:r>
          </a:p>
          <a:p>
            <a:r>
              <a:rPr lang="fr-FR" dirty="0">
                <a:latin typeface="+mj-lt"/>
              </a:rPr>
              <a:t>(1) </a:t>
            </a:r>
            <a:r>
              <a:rPr lang="fr-FR" b="1" dirty="0">
                <a:latin typeface="+mj-lt"/>
              </a:rPr>
              <a:t>Celui </a:t>
            </a:r>
            <a:r>
              <a:rPr lang="fr-FR" dirty="0">
                <a:latin typeface="+mj-lt"/>
              </a:rPr>
              <a:t>qui a régulièrement déposé […]</a:t>
            </a:r>
          </a:p>
          <a:p>
            <a:r>
              <a:rPr lang="fr-FR" dirty="0">
                <a:latin typeface="+mj-lt"/>
              </a:rPr>
              <a:t>Le droit de priorité appartient à celui qui a déposé la demande antérieure (prioritaire) ou son ayant-cause </a:t>
            </a:r>
          </a:p>
          <a:p>
            <a:endParaRPr lang="fr-FR" dirty="0">
              <a:latin typeface="+mj-lt"/>
            </a:endParaRPr>
          </a:p>
          <a:p>
            <a:pPr lvl="1"/>
            <a:r>
              <a:rPr lang="fr-FR" dirty="0">
                <a:latin typeface="+mj-lt"/>
              </a:rPr>
              <a:t>Cela impose que celui qui revendique la priorité soit </a:t>
            </a:r>
          </a:p>
          <a:p>
            <a:pPr lvl="1"/>
            <a:r>
              <a:rPr lang="fr-FR" dirty="0">
                <a:latin typeface="+mj-lt"/>
              </a:rPr>
              <a:t>La même personne que le demandeur de la demande prioritaire, ou </a:t>
            </a:r>
          </a:p>
          <a:p>
            <a:pPr lvl="1"/>
            <a:r>
              <a:rPr lang="fr-FR" dirty="0">
                <a:latin typeface="+mj-lt"/>
              </a:rPr>
              <a:t>son ayant-cause. </a:t>
            </a:r>
          </a:p>
          <a:p>
            <a:endParaRPr lang="fr-FR" dirty="0">
              <a:latin typeface="+mj-lt"/>
            </a:endParaRPr>
          </a:p>
          <a:p>
            <a:pPr lvl="1"/>
            <a:r>
              <a:rPr lang="fr-FR" dirty="0">
                <a:latin typeface="+mj-lt"/>
              </a:rPr>
              <a:t>Simple si un seul demandeur </a:t>
            </a:r>
          </a:p>
          <a:p>
            <a:pPr lvl="1"/>
            <a:r>
              <a:rPr lang="fr-FR" dirty="0">
                <a:latin typeface="+mj-lt"/>
              </a:rPr>
              <a:t>Plus complexes lorsque que le nombre de demandeur augmente</a:t>
            </a:r>
          </a:p>
          <a:p>
            <a:endParaRPr lang="fr-FR" dirty="0">
              <a:latin typeface="+mj-lt"/>
            </a:endParaRPr>
          </a:p>
        </p:txBody>
      </p:sp>
      <p:sp>
        <p:nvSpPr>
          <p:cNvPr id="8" name="Subtitle 7">
            <a:extLst>
              <a:ext uri="{FF2B5EF4-FFF2-40B4-BE49-F238E27FC236}">
                <a16:creationId xmlns:a16="http://schemas.microsoft.com/office/drawing/2014/main" id="{6B2B6CC1-0346-42A9-B228-347B8513C398}"/>
              </a:ext>
            </a:extLst>
          </p:cNvPr>
          <p:cNvSpPr>
            <a:spLocks noGrp="1"/>
          </p:cNvSpPr>
          <p:nvPr>
            <p:ph type="subTitle" idx="12"/>
          </p:nvPr>
        </p:nvSpPr>
        <p:spPr/>
        <p:txBody>
          <a:bodyPr/>
          <a:lstStyle/>
          <a:p>
            <a:r>
              <a:rPr lang="fr-FR" dirty="0"/>
              <a:t>Cadre juridique - CBE </a:t>
            </a:r>
          </a:p>
          <a:p>
            <a:endParaRPr lang="en-GB" dirty="0"/>
          </a:p>
        </p:txBody>
      </p:sp>
      <p:sp>
        <p:nvSpPr>
          <p:cNvPr id="6" name="Title 5">
            <a:extLst>
              <a:ext uri="{FF2B5EF4-FFF2-40B4-BE49-F238E27FC236}">
                <a16:creationId xmlns:a16="http://schemas.microsoft.com/office/drawing/2014/main" id="{BD971297-6FE2-4412-87FF-2C4693A2A245}"/>
              </a:ext>
            </a:extLst>
          </p:cNvPr>
          <p:cNvSpPr>
            <a:spLocks noGrp="1"/>
          </p:cNvSpPr>
          <p:nvPr>
            <p:ph type="title"/>
          </p:nvPr>
        </p:nvSpPr>
        <p:spPr/>
        <p:txBody>
          <a:bodyPr/>
          <a:lstStyle/>
          <a:p>
            <a:r>
              <a:rPr lang="en-GB" sz="3200" dirty="0"/>
              <a:t>Droit de </a:t>
            </a:r>
            <a:r>
              <a:rPr lang="en-GB" sz="3200" dirty="0" err="1"/>
              <a:t>priorité</a:t>
            </a:r>
            <a:endParaRPr lang="en-GB" sz="3200" dirty="0"/>
          </a:p>
        </p:txBody>
      </p:sp>
      <p:sp>
        <p:nvSpPr>
          <p:cNvPr id="5" name="Footer Placeholder 2">
            <a:extLst>
              <a:ext uri="{FF2B5EF4-FFF2-40B4-BE49-F238E27FC236}">
                <a16:creationId xmlns:a16="http://schemas.microsoft.com/office/drawing/2014/main" id="{F06C6920-46B7-493A-AC87-FCE64E8488C7}"/>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13794011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6B2B6CC1-0346-42A9-B228-347B8513C398}"/>
              </a:ext>
            </a:extLst>
          </p:cNvPr>
          <p:cNvSpPr>
            <a:spLocks noGrp="1"/>
          </p:cNvSpPr>
          <p:nvPr>
            <p:ph type="subTitle" idx="12"/>
          </p:nvPr>
        </p:nvSpPr>
        <p:spPr/>
        <p:txBody>
          <a:bodyPr/>
          <a:lstStyle/>
          <a:p>
            <a:r>
              <a:rPr lang="fr-FR" dirty="0"/>
              <a:t>Cadre juridique – Approche des demandeurs conjoint par l'OEB </a:t>
            </a:r>
          </a:p>
          <a:p>
            <a:endParaRPr lang="en-GB" dirty="0"/>
          </a:p>
        </p:txBody>
      </p:sp>
      <p:sp>
        <p:nvSpPr>
          <p:cNvPr id="6" name="Title 5">
            <a:extLst>
              <a:ext uri="{FF2B5EF4-FFF2-40B4-BE49-F238E27FC236}">
                <a16:creationId xmlns:a16="http://schemas.microsoft.com/office/drawing/2014/main" id="{BD971297-6FE2-4412-87FF-2C4693A2A245}"/>
              </a:ext>
            </a:extLst>
          </p:cNvPr>
          <p:cNvSpPr>
            <a:spLocks noGrp="1"/>
          </p:cNvSpPr>
          <p:nvPr>
            <p:ph type="title"/>
          </p:nvPr>
        </p:nvSpPr>
        <p:spPr/>
        <p:txBody>
          <a:bodyPr/>
          <a:lstStyle/>
          <a:p>
            <a:r>
              <a:rPr lang="en-GB" sz="3200" dirty="0"/>
              <a:t>Droit de </a:t>
            </a:r>
            <a:r>
              <a:rPr lang="en-GB" sz="3200" dirty="0" err="1"/>
              <a:t>priorité</a:t>
            </a:r>
            <a:endParaRPr lang="en-GB" sz="3200" dirty="0"/>
          </a:p>
        </p:txBody>
      </p:sp>
      <p:sp>
        <p:nvSpPr>
          <p:cNvPr id="7" name="Content Placeholder 6">
            <a:extLst>
              <a:ext uri="{FF2B5EF4-FFF2-40B4-BE49-F238E27FC236}">
                <a16:creationId xmlns:a16="http://schemas.microsoft.com/office/drawing/2014/main" id="{0656F526-A4CB-4687-A0FB-85049DEEE473}"/>
              </a:ext>
            </a:extLst>
          </p:cNvPr>
          <p:cNvSpPr>
            <a:spLocks noGrp="1"/>
          </p:cNvSpPr>
          <p:nvPr>
            <p:ph idx="4294967295"/>
          </p:nvPr>
        </p:nvSpPr>
        <p:spPr>
          <a:xfrm>
            <a:off x="719136" y="2090738"/>
            <a:ext cx="10752138" cy="4006850"/>
          </a:xfrm>
        </p:spPr>
        <p:txBody>
          <a:bodyPr/>
          <a:lstStyle/>
          <a:p>
            <a:r>
              <a:rPr lang="fr-FR" b="1" dirty="0">
                <a:latin typeface="+mj-lt"/>
              </a:rPr>
              <a:t>Pratique bien établie à l'OEB – Directives A-III 6.1 &amp; JCR-II-D-4.2 - Identité du demandeur</a:t>
            </a:r>
          </a:p>
          <a:p>
            <a:pPr lvl="1"/>
            <a:r>
              <a:rPr lang="fr-FR" dirty="0">
                <a:latin typeface="+mj-lt"/>
              </a:rPr>
              <a:t>Demande ultérieure déposée par des codemandeurs </a:t>
            </a:r>
          </a:p>
          <a:p>
            <a:pPr lvl="1"/>
            <a:r>
              <a:rPr lang="fr-FR" dirty="0">
                <a:latin typeface="+mj-lt"/>
              </a:rPr>
              <a:t>La priorité est valable si les codemandeurs de la demande prioritaire sont inclus dans les codemandeurs de la demande ultérieure.</a:t>
            </a:r>
          </a:p>
          <a:p>
            <a:endParaRPr lang="fr-FR" dirty="0">
              <a:latin typeface="+mj-lt"/>
            </a:endParaRPr>
          </a:p>
          <a:p>
            <a:r>
              <a:rPr lang="fr-FR" b="1" dirty="0">
                <a:latin typeface="+mj-lt"/>
              </a:rPr>
              <a:t>Approche des "demandeurs conjoints"</a:t>
            </a:r>
          </a:p>
          <a:p>
            <a:pPr lvl="1"/>
            <a:r>
              <a:rPr lang="fr-FR" dirty="0">
                <a:latin typeface="+mj-lt"/>
              </a:rPr>
              <a:t>Si A est le demandeur de la demande prioritaire, et </a:t>
            </a:r>
          </a:p>
          <a:p>
            <a:pPr lvl="1"/>
            <a:r>
              <a:rPr lang="fr-FR" dirty="0">
                <a:latin typeface="+mj-lt"/>
              </a:rPr>
              <a:t>A et B sont les codemandeurs de la demande ultérieure, alors </a:t>
            </a:r>
          </a:p>
          <a:p>
            <a:pPr lvl="1"/>
            <a:r>
              <a:rPr lang="fr-FR" dirty="0">
                <a:latin typeface="+mj-lt"/>
              </a:rPr>
              <a:t>B peut alors bénéficier du droit de priorité</a:t>
            </a:r>
          </a:p>
          <a:p>
            <a:pPr lvl="1"/>
            <a:r>
              <a:rPr lang="fr-FR" dirty="0">
                <a:latin typeface="+mj-lt"/>
              </a:rPr>
              <a:t>Pas nécessaire de transférer partiellement le droit de priorité de A à B par un acte spécifique</a:t>
            </a:r>
            <a:endParaRPr lang="en-GB" dirty="0">
              <a:latin typeface="+mj-lt"/>
            </a:endParaRPr>
          </a:p>
        </p:txBody>
      </p:sp>
      <p:sp>
        <p:nvSpPr>
          <p:cNvPr id="5" name="Footer Placeholder 2">
            <a:extLst>
              <a:ext uri="{FF2B5EF4-FFF2-40B4-BE49-F238E27FC236}">
                <a16:creationId xmlns:a16="http://schemas.microsoft.com/office/drawing/2014/main" id="{8B41E358-581D-427A-9A0E-BE9AC4BA4B55}"/>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2358913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0C3872-A115-4EAF-B320-1CB6CE410A62}"/>
              </a:ext>
            </a:extLst>
          </p:cNvPr>
          <p:cNvSpPr>
            <a:spLocks noGrp="1"/>
          </p:cNvSpPr>
          <p:nvPr>
            <p:ph idx="1"/>
          </p:nvPr>
        </p:nvSpPr>
        <p:spPr>
          <a:xfrm>
            <a:off x="719137" y="2128838"/>
            <a:ext cx="10358438" cy="4006800"/>
          </a:xfrm>
        </p:spPr>
        <p:txBody>
          <a:bodyPr/>
          <a:lstStyle/>
          <a:p>
            <a:pPr lvl="1"/>
            <a:r>
              <a:rPr lang="fr-FR" dirty="0">
                <a:latin typeface="+mj-lt"/>
              </a:rPr>
              <a:t>Demande US prioritaire déposée au nom des inventeurs </a:t>
            </a:r>
          </a:p>
          <a:p>
            <a:pPr lvl="1"/>
            <a:r>
              <a:rPr lang="fr-FR" dirty="0">
                <a:latin typeface="+mj-lt"/>
              </a:rPr>
              <a:t>Inventeurs désignés </a:t>
            </a:r>
            <a:r>
              <a:rPr lang="fr-FR" dirty="0" err="1">
                <a:latin typeface="+mj-lt"/>
              </a:rPr>
              <a:t>codéposants</a:t>
            </a:r>
            <a:r>
              <a:rPr lang="fr-FR" dirty="0">
                <a:latin typeface="+mj-lt"/>
              </a:rPr>
              <a:t> pour les "US seulement" dans la demande PCT </a:t>
            </a:r>
          </a:p>
          <a:p>
            <a:r>
              <a:rPr lang="fr-FR" dirty="0">
                <a:latin typeface="+mj-lt"/>
              </a:rPr>
              <a:t>(revendique la priorité US)</a:t>
            </a:r>
          </a:p>
          <a:p>
            <a:pPr lvl="1"/>
            <a:r>
              <a:rPr lang="fr-FR" dirty="0">
                <a:latin typeface="+mj-lt"/>
              </a:rPr>
              <a:t>Leur employeur/ayant-cause désigné déposant pour les autres pays du PCT</a:t>
            </a:r>
          </a:p>
          <a:p>
            <a:pPr lvl="1"/>
            <a:endParaRPr lang="fr-FR" dirty="0">
              <a:latin typeface="+mj-lt"/>
            </a:endParaRPr>
          </a:p>
          <a:p>
            <a:pPr marL="0" lvl="1" indent="0">
              <a:buNone/>
            </a:pPr>
            <a:r>
              <a:rPr lang="fr-FR" b="1" dirty="0" err="1">
                <a:latin typeface="+mj-lt"/>
              </a:rPr>
              <a:t>Alexion</a:t>
            </a:r>
            <a:r>
              <a:rPr lang="fr-FR" b="1" dirty="0">
                <a:latin typeface="+mj-lt"/>
              </a:rPr>
              <a:t> Pharmaceuticals c. Hoffmann-La Roche (T 1513/17) &amp; </a:t>
            </a:r>
            <a:r>
              <a:rPr lang="fr-FR" b="1" dirty="0" err="1">
                <a:latin typeface="+mj-lt"/>
              </a:rPr>
              <a:t>Alexion</a:t>
            </a:r>
            <a:r>
              <a:rPr lang="fr-FR" b="1" dirty="0">
                <a:latin typeface="+mj-lt"/>
              </a:rPr>
              <a:t> Pharmaceuticals</a:t>
            </a:r>
            <a:r>
              <a:rPr lang="fr-FR" dirty="0">
                <a:latin typeface="+mj-lt"/>
              </a:rPr>
              <a:t> </a:t>
            </a:r>
            <a:r>
              <a:rPr lang="fr-FR" b="1" dirty="0">
                <a:latin typeface="+mj-lt"/>
              </a:rPr>
              <a:t>(T 2719/19)</a:t>
            </a:r>
          </a:p>
          <a:p>
            <a:pPr lvl="1"/>
            <a:r>
              <a:rPr lang="fr-FR" dirty="0">
                <a:latin typeface="+mj-lt"/>
              </a:rPr>
              <a:t>Rejet de la priorité car des inventeurs n'ont pas cédé le droit de priorité avant le dépôt PCT</a:t>
            </a:r>
          </a:p>
          <a:p>
            <a:pPr lvl="1"/>
            <a:endParaRPr lang="fr-FR" dirty="0">
              <a:latin typeface="+mj-lt"/>
            </a:endParaRPr>
          </a:p>
          <a:p>
            <a:pPr marL="0" lvl="1" indent="0">
              <a:buNone/>
            </a:pPr>
            <a:r>
              <a:rPr lang="fr-FR" b="1" dirty="0">
                <a:latin typeface="+mj-lt"/>
              </a:rPr>
              <a:t>Chambre de recours</a:t>
            </a:r>
          </a:p>
          <a:p>
            <a:pPr lvl="1"/>
            <a:r>
              <a:rPr lang="fr-FR" dirty="0">
                <a:latin typeface="+mj-lt"/>
              </a:rPr>
              <a:t>Deux appréciations contraires</a:t>
            </a:r>
          </a:p>
          <a:p>
            <a:pPr lvl="4"/>
            <a:r>
              <a:rPr lang="fr-FR" dirty="0">
                <a:latin typeface="+mj-lt"/>
              </a:rPr>
              <a:t>Approche des "demandeurs conjoints" est réservé aux demandes EP</a:t>
            </a:r>
          </a:p>
          <a:p>
            <a:pPr lvl="4"/>
            <a:r>
              <a:rPr lang="fr-FR" dirty="0">
                <a:latin typeface="+mj-lt"/>
              </a:rPr>
              <a:t>Approche des "demandeurs conjoints" est applicable aux PCT</a:t>
            </a:r>
          </a:p>
          <a:p>
            <a:pPr lvl="1"/>
            <a:endParaRPr lang="fr-FR" dirty="0">
              <a:latin typeface="+mj-lt"/>
            </a:endParaRPr>
          </a:p>
          <a:p>
            <a:pPr marL="0" lvl="1" indent="0">
              <a:buNone/>
            </a:pPr>
            <a:r>
              <a:rPr lang="fr-FR" dirty="0">
                <a:latin typeface="+mj-lt"/>
              </a:rPr>
              <a:t> </a:t>
            </a:r>
          </a:p>
          <a:p>
            <a:pPr marL="0" lvl="1" indent="0">
              <a:buNone/>
            </a:pPr>
            <a:endParaRPr lang="fr-FR" dirty="0">
              <a:latin typeface="+mj-lt"/>
            </a:endParaRPr>
          </a:p>
          <a:p>
            <a:pPr marL="0" lvl="1" indent="0">
              <a:buNone/>
            </a:pPr>
            <a:endParaRPr lang="fr-FR" dirty="0">
              <a:latin typeface="+mj-lt"/>
            </a:endParaRPr>
          </a:p>
        </p:txBody>
      </p:sp>
      <p:sp>
        <p:nvSpPr>
          <p:cNvPr id="4" name="Subtitle 3">
            <a:extLst>
              <a:ext uri="{FF2B5EF4-FFF2-40B4-BE49-F238E27FC236}">
                <a16:creationId xmlns:a16="http://schemas.microsoft.com/office/drawing/2014/main" id="{640E1A58-C258-4A48-9201-4606A62A9EA6}"/>
              </a:ext>
            </a:extLst>
          </p:cNvPr>
          <p:cNvSpPr>
            <a:spLocks noGrp="1"/>
          </p:cNvSpPr>
          <p:nvPr>
            <p:ph type="subTitle" idx="12"/>
          </p:nvPr>
        </p:nvSpPr>
        <p:spPr/>
        <p:txBody>
          <a:bodyPr/>
          <a:lstStyle/>
          <a:p>
            <a:r>
              <a:rPr lang="fr-FR" dirty="0"/>
              <a:t>Cas des demandeurs US</a:t>
            </a:r>
          </a:p>
        </p:txBody>
      </p:sp>
      <p:sp>
        <p:nvSpPr>
          <p:cNvPr id="2" name="Title 1">
            <a:extLst>
              <a:ext uri="{FF2B5EF4-FFF2-40B4-BE49-F238E27FC236}">
                <a16:creationId xmlns:a16="http://schemas.microsoft.com/office/drawing/2014/main" id="{9D2D2121-68D6-47FD-954B-ACCE3DFE857C}"/>
              </a:ext>
            </a:extLst>
          </p:cNvPr>
          <p:cNvSpPr>
            <a:spLocks noGrp="1"/>
          </p:cNvSpPr>
          <p:nvPr>
            <p:ph type="title"/>
          </p:nvPr>
        </p:nvSpPr>
        <p:spPr/>
        <p:txBody>
          <a:bodyPr/>
          <a:lstStyle/>
          <a:p>
            <a:r>
              <a:rPr lang="fr-FR" sz="3200" dirty="0"/>
              <a:t>Droit de priorité</a:t>
            </a:r>
          </a:p>
        </p:txBody>
      </p:sp>
      <p:sp>
        <p:nvSpPr>
          <p:cNvPr id="9" name="Footer Placeholder 2">
            <a:extLst>
              <a:ext uri="{FF2B5EF4-FFF2-40B4-BE49-F238E27FC236}">
                <a16:creationId xmlns:a16="http://schemas.microsoft.com/office/drawing/2014/main" id="{88E7135D-1FC1-45CF-B071-900F5E61A0B6}"/>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40291630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36E8AE8-D321-4006-97B1-D60C7D520B81}"/>
              </a:ext>
            </a:extLst>
          </p:cNvPr>
          <p:cNvSpPr>
            <a:spLocks noGrp="1"/>
          </p:cNvSpPr>
          <p:nvPr>
            <p:ph idx="13"/>
          </p:nvPr>
        </p:nvSpPr>
        <p:spPr/>
        <p:txBody>
          <a:bodyPr/>
          <a:lstStyle/>
          <a:p>
            <a:pPr lvl="1"/>
            <a:r>
              <a:rPr lang="fr-FR" dirty="0">
                <a:latin typeface="+mj-lt"/>
              </a:rPr>
              <a:t>II. En cas de réponse affirmative à la question I</a:t>
            </a:r>
          </a:p>
          <a:p>
            <a:pPr lvl="2"/>
            <a:r>
              <a:rPr lang="fr-FR" dirty="0">
                <a:latin typeface="+mj-lt"/>
              </a:rPr>
              <a:t>Une partie B peut-elle valablement se fonder sur le droit de priorité revendiqué dans une </a:t>
            </a:r>
            <a:r>
              <a:rPr lang="fr-FR" b="1" dirty="0">
                <a:latin typeface="+mj-lt"/>
              </a:rPr>
              <a:t>demande PCT </a:t>
            </a:r>
            <a:r>
              <a:rPr lang="fr-FR" dirty="0">
                <a:latin typeface="+mj-lt"/>
              </a:rPr>
              <a:t>aux fins de revendiquer des droits de priorité en vertu de l'article 87(1) CBE dans le cas où</a:t>
            </a:r>
          </a:p>
          <a:p>
            <a:pPr lvl="4"/>
            <a:r>
              <a:rPr lang="fr-FR" dirty="0">
                <a:latin typeface="+mj-lt"/>
              </a:rPr>
              <a:t> une demande PCT désigne la partie </a:t>
            </a:r>
            <a:r>
              <a:rPr lang="fr-FR" b="1" dirty="0">
                <a:latin typeface="+mj-lt"/>
              </a:rPr>
              <a:t>A </a:t>
            </a:r>
            <a:r>
              <a:rPr lang="fr-FR" dirty="0">
                <a:latin typeface="+mj-lt"/>
              </a:rPr>
              <a:t>comme demandeur pour les </a:t>
            </a:r>
            <a:r>
              <a:rPr lang="fr-FR" b="1" dirty="0">
                <a:latin typeface="+mj-lt"/>
              </a:rPr>
              <a:t>Etats-Unis seulement </a:t>
            </a:r>
            <a:r>
              <a:rPr lang="fr-FR" dirty="0">
                <a:latin typeface="+mj-lt"/>
              </a:rPr>
              <a:t>et la partie </a:t>
            </a:r>
            <a:r>
              <a:rPr lang="fr-FR" b="1" dirty="0">
                <a:latin typeface="+mj-lt"/>
              </a:rPr>
              <a:t>B</a:t>
            </a:r>
            <a:r>
              <a:rPr lang="fr-FR" dirty="0">
                <a:latin typeface="+mj-lt"/>
              </a:rPr>
              <a:t> comme demandeur pour d'</a:t>
            </a:r>
            <a:r>
              <a:rPr lang="fr-FR" b="1" dirty="0">
                <a:latin typeface="+mj-lt"/>
              </a:rPr>
              <a:t>autres Etats </a:t>
            </a:r>
            <a:r>
              <a:rPr lang="fr-FR" dirty="0">
                <a:latin typeface="+mj-lt"/>
              </a:rPr>
              <a:t>désignés, y compris la protection par brevet européen régional et</a:t>
            </a:r>
          </a:p>
          <a:p>
            <a:pPr lvl="4"/>
            <a:r>
              <a:rPr lang="fr-FR" dirty="0">
                <a:latin typeface="+mj-lt"/>
              </a:rPr>
              <a:t> la demande PCT revendique la priorité d'une demande de brevet antérieure qui désigne la partie A comme demandeur et</a:t>
            </a:r>
          </a:p>
          <a:p>
            <a:pPr lvl="4"/>
            <a:r>
              <a:rPr lang="fr-FR" dirty="0">
                <a:latin typeface="+mj-lt"/>
              </a:rPr>
              <a:t> la priorité revendiquée dans la demande PCT est conforme à l'article 4 de la Convention de Paris ?</a:t>
            </a:r>
          </a:p>
          <a:p>
            <a:pPr marL="0" lvl="1" indent="0">
              <a:buNone/>
            </a:pPr>
            <a:r>
              <a:rPr lang="fr-FR" dirty="0">
                <a:latin typeface="+mj-lt"/>
              </a:rPr>
              <a:t> </a:t>
            </a:r>
          </a:p>
          <a:p>
            <a:endParaRPr lang="fr-FR" dirty="0">
              <a:latin typeface="+mj-lt"/>
            </a:endParaRPr>
          </a:p>
        </p:txBody>
      </p:sp>
      <p:sp>
        <p:nvSpPr>
          <p:cNvPr id="3" name="Content Placeholder 2">
            <a:extLst>
              <a:ext uri="{FF2B5EF4-FFF2-40B4-BE49-F238E27FC236}">
                <a16:creationId xmlns:a16="http://schemas.microsoft.com/office/drawing/2014/main" id="{0E0C3872-A115-4EAF-B320-1CB6CE410A62}"/>
              </a:ext>
            </a:extLst>
          </p:cNvPr>
          <p:cNvSpPr>
            <a:spLocks noGrp="1"/>
          </p:cNvSpPr>
          <p:nvPr>
            <p:ph idx="1"/>
          </p:nvPr>
        </p:nvSpPr>
        <p:spPr/>
        <p:txBody>
          <a:bodyPr/>
          <a:lstStyle/>
          <a:p>
            <a:pPr lvl="1"/>
            <a:endParaRPr lang="fr-FR" dirty="0">
              <a:latin typeface="+mj-lt"/>
            </a:endParaRPr>
          </a:p>
          <a:p>
            <a:pPr lvl="1"/>
            <a:endParaRPr lang="fr-FR" dirty="0">
              <a:latin typeface="+mj-lt"/>
            </a:endParaRPr>
          </a:p>
          <a:p>
            <a:pPr lvl="1"/>
            <a:endParaRPr lang="fr-FR" dirty="0">
              <a:latin typeface="+mj-lt"/>
            </a:endParaRPr>
          </a:p>
          <a:p>
            <a:pPr lvl="1"/>
            <a:r>
              <a:rPr lang="fr-FR" dirty="0">
                <a:latin typeface="+mj-lt"/>
              </a:rPr>
              <a:t>I. La CBE confère-t-elle une </a:t>
            </a:r>
            <a:r>
              <a:rPr lang="fr-FR" b="1" dirty="0">
                <a:latin typeface="+mj-lt"/>
              </a:rPr>
              <a:t>compétence à l'OEB </a:t>
            </a:r>
            <a:r>
              <a:rPr lang="fr-FR" dirty="0">
                <a:latin typeface="+mj-lt"/>
              </a:rPr>
              <a:t>pour déterminer si une partie prétend valablement être un ayant droit au sens de l'article 87(1)b) CBE ?</a:t>
            </a:r>
          </a:p>
          <a:p>
            <a:pPr marL="0" lvl="1" indent="0">
              <a:buNone/>
            </a:pPr>
            <a:endParaRPr lang="fr-FR" dirty="0">
              <a:latin typeface="+mj-lt"/>
            </a:endParaRPr>
          </a:p>
          <a:p>
            <a:pPr marL="0" lvl="1" indent="0">
              <a:buNone/>
            </a:pPr>
            <a:endParaRPr lang="fr-FR" dirty="0">
              <a:latin typeface="+mj-lt"/>
            </a:endParaRPr>
          </a:p>
        </p:txBody>
      </p:sp>
      <p:sp>
        <p:nvSpPr>
          <p:cNvPr id="4" name="Subtitle 3">
            <a:extLst>
              <a:ext uri="{FF2B5EF4-FFF2-40B4-BE49-F238E27FC236}">
                <a16:creationId xmlns:a16="http://schemas.microsoft.com/office/drawing/2014/main" id="{640E1A58-C258-4A48-9201-4606A62A9EA6}"/>
              </a:ext>
            </a:extLst>
          </p:cNvPr>
          <p:cNvSpPr>
            <a:spLocks noGrp="1"/>
          </p:cNvSpPr>
          <p:nvPr>
            <p:ph type="subTitle" idx="12"/>
          </p:nvPr>
        </p:nvSpPr>
        <p:spPr/>
        <p:txBody>
          <a:bodyPr/>
          <a:lstStyle/>
          <a:p>
            <a:r>
              <a:rPr lang="fr-FR" dirty="0"/>
              <a:t>Questions devant la Grande Chambre de recours </a:t>
            </a:r>
          </a:p>
          <a:p>
            <a:r>
              <a:rPr lang="fr-FR" dirty="0"/>
              <a:t>G1/22 &amp; G2/22</a:t>
            </a:r>
          </a:p>
        </p:txBody>
      </p:sp>
      <p:sp>
        <p:nvSpPr>
          <p:cNvPr id="5" name="Title 4">
            <a:extLst>
              <a:ext uri="{FF2B5EF4-FFF2-40B4-BE49-F238E27FC236}">
                <a16:creationId xmlns:a16="http://schemas.microsoft.com/office/drawing/2014/main" id="{CF229C52-D3E8-4702-8F87-C938FCEDFDA8}"/>
              </a:ext>
            </a:extLst>
          </p:cNvPr>
          <p:cNvSpPr>
            <a:spLocks noGrp="1"/>
          </p:cNvSpPr>
          <p:nvPr>
            <p:ph type="title"/>
          </p:nvPr>
        </p:nvSpPr>
        <p:spPr/>
        <p:txBody>
          <a:bodyPr/>
          <a:lstStyle/>
          <a:p>
            <a:r>
              <a:rPr lang="en-GB" sz="3200" dirty="0"/>
              <a:t>Droit de </a:t>
            </a:r>
            <a:r>
              <a:rPr lang="en-GB" sz="3200" dirty="0" err="1"/>
              <a:t>priorité</a:t>
            </a:r>
            <a:endParaRPr lang="fr-FR" sz="3200" dirty="0"/>
          </a:p>
        </p:txBody>
      </p:sp>
      <p:sp>
        <p:nvSpPr>
          <p:cNvPr id="7" name="Footer Placeholder 2">
            <a:extLst>
              <a:ext uri="{FF2B5EF4-FFF2-40B4-BE49-F238E27FC236}">
                <a16:creationId xmlns:a16="http://schemas.microsoft.com/office/drawing/2014/main" id="{C3DB2F26-2CDA-4B20-8AD7-FD80C9C68E28}"/>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14375051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0C3872-A115-4EAF-B320-1CB6CE410A62}"/>
              </a:ext>
            </a:extLst>
          </p:cNvPr>
          <p:cNvSpPr>
            <a:spLocks noGrp="1"/>
          </p:cNvSpPr>
          <p:nvPr>
            <p:ph idx="1"/>
          </p:nvPr>
        </p:nvSpPr>
        <p:spPr>
          <a:xfrm>
            <a:off x="719137" y="2128838"/>
            <a:ext cx="10037763" cy="4006800"/>
          </a:xfrm>
        </p:spPr>
        <p:txBody>
          <a:bodyPr/>
          <a:lstStyle/>
          <a:p>
            <a:pPr marL="0" lvl="1" indent="0">
              <a:buNone/>
            </a:pPr>
            <a:r>
              <a:rPr lang="fr-FR" b="1" dirty="0">
                <a:latin typeface="+mj-lt"/>
              </a:rPr>
              <a:t>Question sérieuse qui doit être tranchée définitivement par la GRC</a:t>
            </a:r>
          </a:p>
          <a:p>
            <a:pPr lvl="1"/>
            <a:r>
              <a:rPr lang="fr-FR" dirty="0">
                <a:latin typeface="+mj-lt"/>
              </a:rPr>
              <a:t>La compétence de l'OEB pour statuer sur le droit de priorité déjà examinée en détail dans T 844/18 (point 18)</a:t>
            </a:r>
          </a:p>
          <a:p>
            <a:pPr lvl="1"/>
            <a:r>
              <a:rPr lang="fr-FR" dirty="0">
                <a:latin typeface="+mj-lt"/>
              </a:rPr>
              <a:t>Il n'y a pas de base légale pour libérer l'OEB de l'obligation d'évaluer qui a réalisé l'acte de dépôt de la demande de brevet, comme l'exige l'article 87(1) CBE. </a:t>
            </a:r>
          </a:p>
          <a:p>
            <a:pPr lvl="1"/>
            <a:r>
              <a:rPr lang="fr-FR" dirty="0">
                <a:latin typeface="+mj-lt"/>
              </a:rPr>
              <a:t>La question n'a pas été posée par les parties (T1513/17)</a:t>
            </a:r>
          </a:p>
          <a:p>
            <a:pPr lvl="1"/>
            <a:r>
              <a:rPr lang="fr-FR" dirty="0">
                <a:latin typeface="+mj-lt"/>
              </a:rPr>
              <a:t>Mais la question de la compétence </a:t>
            </a:r>
          </a:p>
          <a:p>
            <a:pPr lvl="2"/>
            <a:r>
              <a:rPr lang="fr-FR" dirty="0">
                <a:latin typeface="+mj-lt"/>
              </a:rPr>
              <a:t>a été soulevée dans différentes décisions (T 239/16, T 419/16 et T 845/19) avec des références aux Travaux Préparatoires et un parallèle entre le pouvoir de déterminer si une partie a droit à une demande de brevet particulière (que l'OEB n'a pas) et le pouvoir de décider du droit à la priorité,</a:t>
            </a:r>
          </a:p>
          <a:p>
            <a:pPr lvl="2"/>
            <a:r>
              <a:rPr lang="fr-FR" dirty="0">
                <a:latin typeface="+mj-lt"/>
              </a:rPr>
              <a:t>sera très probablement soulevée à nouveau dans d'autres affaires,</a:t>
            </a:r>
          </a:p>
          <a:p>
            <a:pPr lvl="2"/>
            <a:r>
              <a:rPr lang="fr-FR" dirty="0">
                <a:latin typeface="+mj-lt"/>
              </a:rPr>
              <a:t>opportunité de trancher cette question d'importance </a:t>
            </a:r>
          </a:p>
          <a:p>
            <a:pPr marL="0" lvl="1" indent="0">
              <a:buNone/>
            </a:pPr>
            <a:r>
              <a:rPr lang="fr-FR" dirty="0">
                <a:latin typeface="+mj-lt"/>
              </a:rPr>
              <a:t> </a:t>
            </a:r>
          </a:p>
          <a:p>
            <a:pPr marL="0" lvl="1" indent="0">
              <a:buNone/>
            </a:pPr>
            <a:endParaRPr lang="fr-FR" dirty="0">
              <a:latin typeface="+mj-lt"/>
            </a:endParaRPr>
          </a:p>
          <a:p>
            <a:pPr marL="0" lvl="1" indent="0">
              <a:buNone/>
            </a:pPr>
            <a:endParaRPr lang="fr-FR" dirty="0">
              <a:latin typeface="+mj-lt"/>
            </a:endParaRPr>
          </a:p>
        </p:txBody>
      </p:sp>
      <p:sp>
        <p:nvSpPr>
          <p:cNvPr id="4" name="Subtitle 3">
            <a:extLst>
              <a:ext uri="{FF2B5EF4-FFF2-40B4-BE49-F238E27FC236}">
                <a16:creationId xmlns:a16="http://schemas.microsoft.com/office/drawing/2014/main" id="{640E1A58-C258-4A48-9201-4606A62A9EA6}"/>
              </a:ext>
            </a:extLst>
          </p:cNvPr>
          <p:cNvSpPr>
            <a:spLocks noGrp="1"/>
          </p:cNvSpPr>
          <p:nvPr>
            <p:ph type="subTitle" idx="12"/>
          </p:nvPr>
        </p:nvSpPr>
        <p:spPr/>
        <p:txBody>
          <a:bodyPr/>
          <a:lstStyle/>
          <a:p>
            <a:r>
              <a:rPr lang="fr-FR" dirty="0"/>
              <a:t>Compétence de l'OEB?</a:t>
            </a:r>
          </a:p>
        </p:txBody>
      </p:sp>
      <p:sp>
        <p:nvSpPr>
          <p:cNvPr id="2" name="Title 1">
            <a:extLst>
              <a:ext uri="{FF2B5EF4-FFF2-40B4-BE49-F238E27FC236}">
                <a16:creationId xmlns:a16="http://schemas.microsoft.com/office/drawing/2014/main" id="{9D2D2121-68D6-47FD-954B-ACCE3DFE857C}"/>
              </a:ext>
            </a:extLst>
          </p:cNvPr>
          <p:cNvSpPr>
            <a:spLocks noGrp="1"/>
          </p:cNvSpPr>
          <p:nvPr>
            <p:ph type="title"/>
          </p:nvPr>
        </p:nvSpPr>
        <p:spPr/>
        <p:txBody>
          <a:bodyPr/>
          <a:lstStyle/>
          <a:p>
            <a:r>
              <a:rPr lang="fr-FR" sz="3200" dirty="0"/>
              <a:t>Droit de priorité</a:t>
            </a:r>
          </a:p>
        </p:txBody>
      </p:sp>
      <p:sp>
        <p:nvSpPr>
          <p:cNvPr id="5" name="Footer Placeholder 2">
            <a:extLst>
              <a:ext uri="{FF2B5EF4-FFF2-40B4-BE49-F238E27FC236}">
                <a16:creationId xmlns:a16="http://schemas.microsoft.com/office/drawing/2014/main" id="{6FD25AE4-74F6-4704-B2DD-14EC0F232FF1}"/>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23886001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E9F658-5E90-45C4-894E-589431D0B98E}"/>
              </a:ext>
            </a:extLst>
          </p:cNvPr>
          <p:cNvSpPr>
            <a:spLocks noGrp="1"/>
          </p:cNvSpPr>
          <p:nvPr>
            <p:ph idx="14"/>
          </p:nvPr>
        </p:nvSpPr>
        <p:spPr>
          <a:xfrm>
            <a:off x="8007349" y="2184455"/>
            <a:ext cx="3463925" cy="4006800"/>
          </a:xfrm>
        </p:spPr>
        <p:txBody>
          <a:bodyPr/>
          <a:lstStyle/>
          <a:p>
            <a:r>
              <a:rPr lang="fr-FR" sz="1400" b="1" dirty="0">
                <a:latin typeface="+mj-lt"/>
              </a:rPr>
              <a:t>Arrêt de CA de La Haye (NL)</a:t>
            </a:r>
          </a:p>
          <a:p>
            <a:pPr lvl="1"/>
            <a:r>
              <a:rPr lang="de-DE" sz="1200" dirty="0">
                <a:latin typeface="+mj-lt"/>
              </a:rPr>
              <a:t>Biogen/Genentech v. </a:t>
            </a:r>
            <a:r>
              <a:rPr lang="de-DE" sz="1200" dirty="0" err="1">
                <a:latin typeface="+mj-lt"/>
              </a:rPr>
              <a:t>Celltrion</a:t>
            </a:r>
            <a:r>
              <a:rPr lang="de-DE" sz="1200" dirty="0">
                <a:latin typeface="+mj-lt"/>
              </a:rPr>
              <a:t> (</a:t>
            </a:r>
            <a:r>
              <a:rPr lang="de-DE" sz="1200" dirty="0" err="1">
                <a:latin typeface="+mj-lt"/>
              </a:rPr>
              <a:t>Gerechtshof</a:t>
            </a:r>
            <a:r>
              <a:rPr lang="de-DE" sz="1200" dirty="0">
                <a:latin typeface="+mj-lt"/>
              </a:rPr>
              <a:t> Den Haag 30 </a:t>
            </a:r>
            <a:r>
              <a:rPr lang="de-DE" sz="1200" dirty="0" err="1">
                <a:latin typeface="+mj-lt"/>
              </a:rPr>
              <a:t>juillet</a:t>
            </a:r>
            <a:r>
              <a:rPr lang="de-DE" sz="1200" dirty="0">
                <a:latin typeface="+mj-lt"/>
              </a:rPr>
              <a:t> 2019)</a:t>
            </a:r>
          </a:p>
          <a:p>
            <a:pPr lvl="1"/>
            <a:r>
              <a:rPr lang="de-DE" sz="1200" dirty="0" err="1">
                <a:latin typeface="+mj-lt"/>
              </a:rPr>
              <a:t>Priorité</a:t>
            </a:r>
            <a:r>
              <a:rPr lang="de-DE" sz="1200" dirty="0">
                <a:latin typeface="+mj-lt"/>
              </a:rPr>
              <a:t> </a:t>
            </a:r>
            <a:r>
              <a:rPr lang="de-DE" sz="1200" dirty="0" err="1">
                <a:latin typeface="+mj-lt"/>
              </a:rPr>
              <a:t>remise</a:t>
            </a:r>
            <a:r>
              <a:rPr lang="de-DE" sz="1200" dirty="0">
                <a:latin typeface="+mj-lt"/>
              </a:rPr>
              <a:t> en </a:t>
            </a:r>
            <a:r>
              <a:rPr lang="de-DE" sz="1200" dirty="0" err="1">
                <a:latin typeface="+mj-lt"/>
              </a:rPr>
              <a:t>cause</a:t>
            </a:r>
            <a:r>
              <a:rPr lang="de-DE" sz="1200" dirty="0">
                <a:latin typeface="+mj-lt"/>
              </a:rPr>
              <a:t> </a:t>
            </a:r>
          </a:p>
          <a:p>
            <a:pPr lvl="1"/>
            <a:r>
              <a:rPr lang="de-DE" sz="1200" dirty="0">
                <a:latin typeface="+mj-lt"/>
              </a:rPr>
              <a:t>Loi du </a:t>
            </a:r>
            <a:r>
              <a:rPr lang="de-DE" sz="1200" dirty="0" err="1">
                <a:latin typeface="+mj-lt"/>
              </a:rPr>
              <a:t>Massachussetts</a:t>
            </a:r>
            <a:r>
              <a:rPr lang="de-DE" sz="1200" dirty="0">
                <a:latin typeface="+mj-lt"/>
              </a:rPr>
              <a:t> (</a:t>
            </a:r>
            <a:r>
              <a:rPr lang="de-DE" sz="1200" dirty="0" err="1">
                <a:latin typeface="+mj-lt"/>
              </a:rPr>
              <a:t>invoqué</a:t>
            </a:r>
            <a:r>
              <a:rPr lang="de-DE" sz="1200" dirty="0">
                <a:latin typeface="+mj-lt"/>
              </a:rPr>
              <a:t> par Biogen)</a:t>
            </a:r>
          </a:p>
          <a:p>
            <a:pPr lvl="1"/>
            <a:r>
              <a:rPr lang="de-DE" sz="1200" dirty="0">
                <a:latin typeface="+mj-lt"/>
              </a:rPr>
              <a:t>CA – Loi </a:t>
            </a:r>
            <a:r>
              <a:rPr lang="de-DE" sz="1200" dirty="0" err="1">
                <a:latin typeface="+mj-lt"/>
              </a:rPr>
              <a:t>applicable</a:t>
            </a:r>
            <a:r>
              <a:rPr lang="de-DE" sz="1200" dirty="0">
                <a:latin typeface="+mj-lt"/>
              </a:rPr>
              <a:t> </a:t>
            </a:r>
            <a:r>
              <a:rPr lang="de-DE" sz="1200" dirty="0" err="1">
                <a:latin typeface="+mj-lt"/>
              </a:rPr>
              <a:t>est</a:t>
            </a:r>
            <a:r>
              <a:rPr lang="de-DE" sz="1200" dirty="0">
                <a:latin typeface="+mj-lt"/>
              </a:rPr>
              <a:t> </a:t>
            </a:r>
            <a:r>
              <a:rPr lang="de-DE" sz="1200" dirty="0" err="1">
                <a:latin typeface="+mj-lt"/>
              </a:rPr>
              <a:t>celle</a:t>
            </a:r>
            <a:r>
              <a:rPr lang="de-DE" sz="1200" dirty="0">
                <a:latin typeface="+mj-lt"/>
              </a:rPr>
              <a:t> du </a:t>
            </a:r>
            <a:r>
              <a:rPr lang="de-DE" sz="1200" dirty="0" err="1">
                <a:latin typeface="+mj-lt"/>
              </a:rPr>
              <a:t>pays</a:t>
            </a:r>
            <a:r>
              <a:rPr lang="de-DE" sz="1200" dirty="0">
                <a:latin typeface="+mj-lt"/>
              </a:rPr>
              <a:t> </a:t>
            </a:r>
            <a:r>
              <a:rPr lang="de-DE" sz="1200" dirty="0" err="1">
                <a:latin typeface="+mj-lt"/>
              </a:rPr>
              <a:t>où</a:t>
            </a:r>
            <a:r>
              <a:rPr lang="de-DE" sz="1200" dirty="0">
                <a:latin typeface="+mj-lt"/>
              </a:rPr>
              <a:t> le </a:t>
            </a:r>
            <a:r>
              <a:rPr lang="de-DE" sz="1200" dirty="0" err="1">
                <a:latin typeface="+mj-lt"/>
              </a:rPr>
              <a:t>droit</a:t>
            </a:r>
            <a:r>
              <a:rPr lang="de-DE" sz="1200" dirty="0">
                <a:latin typeface="+mj-lt"/>
              </a:rPr>
              <a:t> </a:t>
            </a:r>
            <a:r>
              <a:rPr lang="de-DE" sz="1200" dirty="0" err="1">
                <a:latin typeface="+mj-lt"/>
              </a:rPr>
              <a:t>est</a:t>
            </a:r>
            <a:r>
              <a:rPr lang="de-DE" sz="1200" dirty="0">
                <a:latin typeface="+mj-lt"/>
              </a:rPr>
              <a:t> </a:t>
            </a:r>
            <a:r>
              <a:rPr lang="de-DE" sz="1200" dirty="0" err="1">
                <a:latin typeface="+mj-lt"/>
              </a:rPr>
              <a:t>demandé</a:t>
            </a:r>
            <a:r>
              <a:rPr lang="de-DE" sz="1200" dirty="0">
                <a:latin typeface="+mj-lt"/>
              </a:rPr>
              <a:t> – la </a:t>
            </a:r>
            <a:r>
              <a:rPr lang="de-DE" sz="1200" dirty="0" err="1">
                <a:latin typeface="+mj-lt"/>
              </a:rPr>
              <a:t>validité</a:t>
            </a:r>
            <a:r>
              <a:rPr lang="de-DE" sz="1200" dirty="0">
                <a:latin typeface="+mj-lt"/>
              </a:rPr>
              <a:t> </a:t>
            </a:r>
            <a:r>
              <a:rPr lang="de-DE" sz="1200" dirty="0" err="1">
                <a:latin typeface="+mj-lt"/>
              </a:rPr>
              <a:t>doit</a:t>
            </a:r>
            <a:r>
              <a:rPr lang="de-DE" sz="1200" dirty="0">
                <a:latin typeface="+mj-lt"/>
              </a:rPr>
              <a:t> </a:t>
            </a:r>
            <a:r>
              <a:rPr lang="de-DE" sz="1200" dirty="0" err="1">
                <a:latin typeface="+mj-lt"/>
              </a:rPr>
              <a:t>s'apprécier</a:t>
            </a:r>
            <a:r>
              <a:rPr lang="de-DE" sz="1200" dirty="0">
                <a:latin typeface="+mj-lt"/>
              </a:rPr>
              <a:t> </a:t>
            </a:r>
            <a:r>
              <a:rPr lang="de-DE" sz="1200" dirty="0" err="1">
                <a:latin typeface="+mj-lt"/>
              </a:rPr>
              <a:t>ainsi</a:t>
            </a:r>
            <a:r>
              <a:rPr lang="de-DE" sz="1200" dirty="0">
                <a:latin typeface="+mj-lt"/>
              </a:rPr>
              <a:t> et la </a:t>
            </a:r>
            <a:r>
              <a:rPr lang="de-DE" sz="1200" dirty="0" err="1">
                <a:latin typeface="+mj-lt"/>
              </a:rPr>
              <a:t>priorité</a:t>
            </a:r>
            <a:r>
              <a:rPr lang="de-DE" sz="1200" dirty="0">
                <a:latin typeface="+mj-lt"/>
              </a:rPr>
              <a:t> fait </a:t>
            </a:r>
            <a:r>
              <a:rPr lang="de-DE" sz="1200" dirty="0" err="1">
                <a:latin typeface="+mj-lt"/>
              </a:rPr>
              <a:t>partie</a:t>
            </a:r>
            <a:r>
              <a:rPr lang="de-DE" sz="1200" dirty="0">
                <a:latin typeface="+mj-lt"/>
              </a:rPr>
              <a:t> de </a:t>
            </a:r>
            <a:r>
              <a:rPr lang="de-DE" sz="1200" dirty="0" err="1">
                <a:latin typeface="+mj-lt"/>
              </a:rPr>
              <a:t>cette</a:t>
            </a:r>
            <a:r>
              <a:rPr lang="de-DE" sz="1200" dirty="0">
                <a:latin typeface="+mj-lt"/>
              </a:rPr>
              <a:t> </a:t>
            </a:r>
            <a:r>
              <a:rPr lang="de-DE" sz="1200" dirty="0" err="1">
                <a:latin typeface="+mj-lt"/>
              </a:rPr>
              <a:t>appréciation</a:t>
            </a:r>
            <a:endParaRPr lang="de-DE" sz="1200" dirty="0">
              <a:latin typeface="+mj-lt"/>
            </a:endParaRPr>
          </a:p>
          <a:p>
            <a:pPr lvl="1"/>
            <a:r>
              <a:rPr lang="fr-FR" sz="1200" dirty="0">
                <a:latin typeface="+mj-lt"/>
              </a:rPr>
              <a:t>Pour un brevet EP – Loi applicable – CBE</a:t>
            </a:r>
          </a:p>
          <a:p>
            <a:pPr lvl="1"/>
            <a:r>
              <a:rPr lang="de-DE" sz="1400" b="1" dirty="0">
                <a:latin typeface="+mj-lt"/>
              </a:rPr>
              <a:t>Bundesgerichtshof (BGH</a:t>
            </a:r>
            <a:r>
              <a:rPr lang="de-DE" b="1" dirty="0">
                <a:latin typeface="+mj-lt"/>
              </a:rPr>
              <a:t>) </a:t>
            </a:r>
            <a:r>
              <a:rPr lang="de-DE" sz="1400" dirty="0">
                <a:latin typeface="+mj-lt"/>
              </a:rPr>
              <a:t>16 </a:t>
            </a:r>
            <a:r>
              <a:rPr lang="de-DE" sz="1400" dirty="0" err="1">
                <a:latin typeface="+mj-lt"/>
              </a:rPr>
              <a:t>avril</a:t>
            </a:r>
            <a:r>
              <a:rPr lang="de-DE" sz="1400" dirty="0">
                <a:latin typeface="+mj-lt"/>
              </a:rPr>
              <a:t> 2013 - X ZR 49/12 – Droit national</a:t>
            </a:r>
            <a:endParaRPr lang="fr-FR" dirty="0">
              <a:latin typeface="+mj-lt"/>
            </a:endParaRPr>
          </a:p>
        </p:txBody>
      </p:sp>
      <p:sp>
        <p:nvSpPr>
          <p:cNvPr id="2" name="Content Placeholder 1">
            <a:extLst>
              <a:ext uri="{FF2B5EF4-FFF2-40B4-BE49-F238E27FC236}">
                <a16:creationId xmlns:a16="http://schemas.microsoft.com/office/drawing/2014/main" id="{246065C8-7416-437E-B789-D1FFBF99CC73}"/>
              </a:ext>
            </a:extLst>
          </p:cNvPr>
          <p:cNvSpPr>
            <a:spLocks noGrp="1"/>
          </p:cNvSpPr>
          <p:nvPr>
            <p:ph idx="13"/>
          </p:nvPr>
        </p:nvSpPr>
        <p:spPr>
          <a:xfrm>
            <a:off x="4362450" y="2184455"/>
            <a:ext cx="3463925" cy="4006800"/>
          </a:xfrm>
        </p:spPr>
        <p:txBody>
          <a:bodyPr/>
          <a:lstStyle/>
          <a:p>
            <a:r>
              <a:rPr lang="fr-FR" sz="1400" b="1" dirty="0">
                <a:latin typeface="+mj-lt"/>
              </a:rPr>
              <a:t>Approche demandeurs conjoints PCT</a:t>
            </a:r>
          </a:p>
          <a:p>
            <a:endParaRPr lang="fr-FR" b="1" dirty="0">
              <a:latin typeface="+mj-lt"/>
            </a:endParaRPr>
          </a:p>
          <a:p>
            <a:pPr lvl="1"/>
            <a:r>
              <a:rPr lang="fr-FR" sz="1200" dirty="0">
                <a:latin typeface="+mj-lt"/>
              </a:rPr>
              <a:t>Découle du caractère unitaire du droit de priorité d'un PCT </a:t>
            </a:r>
          </a:p>
        </p:txBody>
      </p:sp>
      <p:sp>
        <p:nvSpPr>
          <p:cNvPr id="7" name="Content Placeholder 6">
            <a:extLst>
              <a:ext uri="{FF2B5EF4-FFF2-40B4-BE49-F238E27FC236}">
                <a16:creationId xmlns:a16="http://schemas.microsoft.com/office/drawing/2014/main" id="{0656F526-A4CB-4687-A0FB-85049DEEE473}"/>
              </a:ext>
            </a:extLst>
          </p:cNvPr>
          <p:cNvSpPr>
            <a:spLocks noGrp="1"/>
          </p:cNvSpPr>
          <p:nvPr>
            <p:ph idx="1"/>
          </p:nvPr>
        </p:nvSpPr>
        <p:spPr>
          <a:xfrm>
            <a:off x="719138" y="2184455"/>
            <a:ext cx="3463925" cy="4006800"/>
          </a:xfrm>
        </p:spPr>
        <p:txBody>
          <a:bodyPr/>
          <a:lstStyle/>
          <a:p>
            <a:r>
              <a:rPr lang="en-GB" sz="1400" b="1" i="0" dirty="0">
                <a:solidFill>
                  <a:srgbClr val="0B2A43"/>
                </a:solidFill>
                <a:effectLst/>
                <a:latin typeface="+mj-lt"/>
              </a:rPr>
              <a:t>Article 11(3) PCT</a:t>
            </a:r>
          </a:p>
          <a:p>
            <a:pPr lvl="1"/>
            <a:r>
              <a:rPr lang="fr-FR" sz="1200" dirty="0">
                <a:latin typeface="+mj-lt"/>
              </a:rPr>
              <a:t>Toute demande PCT a les effets d'un dépôt national régulier dans chaque état désigné</a:t>
            </a:r>
          </a:p>
          <a:p>
            <a:pPr marL="0" lvl="1" indent="0">
              <a:buNone/>
            </a:pPr>
            <a:endParaRPr lang="fr-FR" sz="1100" b="1" dirty="0">
              <a:latin typeface="+mj-lt"/>
            </a:endParaRPr>
          </a:p>
          <a:p>
            <a:pPr marL="0" lvl="1" indent="0">
              <a:buNone/>
            </a:pPr>
            <a:r>
              <a:rPr lang="fr-FR" sz="1400" b="1" dirty="0">
                <a:latin typeface="+mj-lt"/>
              </a:rPr>
              <a:t>Article 153(2) CBE</a:t>
            </a:r>
          </a:p>
          <a:p>
            <a:pPr lvl="1"/>
            <a:r>
              <a:rPr lang="fr-FR" sz="1200" dirty="0">
                <a:latin typeface="+mj-lt"/>
              </a:rPr>
              <a:t>Une demande PCT pour laquelle l'OEB est office désigné ou élu a la valeur d'une demande européenne régulière (demande euro-PCT) </a:t>
            </a:r>
          </a:p>
          <a:p>
            <a:pPr lvl="1"/>
            <a:endParaRPr lang="fr-FR" sz="1400" dirty="0">
              <a:latin typeface="+mj-lt"/>
            </a:endParaRPr>
          </a:p>
          <a:p>
            <a:pPr marL="0" lvl="1" indent="0">
              <a:buNone/>
            </a:pPr>
            <a:r>
              <a:rPr lang="fr-FR" sz="1400" b="1" dirty="0">
                <a:latin typeface="+mj-lt"/>
              </a:rPr>
              <a:t>Article 118 CBE (unicité de la demande)</a:t>
            </a:r>
          </a:p>
          <a:p>
            <a:pPr lvl="1"/>
            <a:r>
              <a:rPr lang="fr-FR" sz="1200" b="1" i="0" dirty="0">
                <a:solidFill>
                  <a:srgbClr val="0B2A43"/>
                </a:solidFill>
                <a:effectLst/>
                <a:latin typeface="+mj-lt"/>
              </a:rPr>
              <a:t>Lorsque les demandeurs ou les titulaires </a:t>
            </a:r>
            <a:r>
              <a:rPr lang="fr-FR" sz="1200" b="0" i="0" dirty="0">
                <a:solidFill>
                  <a:srgbClr val="0B2A43"/>
                </a:solidFill>
                <a:effectLst/>
                <a:latin typeface="+mj-lt"/>
              </a:rPr>
              <a:t>d'un brevet européen </a:t>
            </a:r>
            <a:r>
              <a:rPr lang="fr-FR" sz="1200" b="1" i="0" dirty="0">
                <a:solidFill>
                  <a:srgbClr val="0B2A43"/>
                </a:solidFill>
                <a:effectLst/>
                <a:latin typeface="+mj-lt"/>
              </a:rPr>
              <a:t>ne sont pas les mêmes pour différents États contractants désignés</a:t>
            </a:r>
            <a:r>
              <a:rPr lang="fr-FR" sz="1200" b="0" i="0" dirty="0">
                <a:solidFill>
                  <a:srgbClr val="0B2A43"/>
                </a:solidFill>
                <a:effectLst/>
                <a:latin typeface="+mj-lt"/>
              </a:rPr>
              <a:t>, </a:t>
            </a:r>
            <a:r>
              <a:rPr lang="fr-FR" sz="1200" b="1" i="0" dirty="0">
                <a:solidFill>
                  <a:srgbClr val="0B2A43"/>
                </a:solidFill>
                <a:effectLst/>
                <a:latin typeface="+mj-lt"/>
              </a:rPr>
              <a:t>ils sont considérés comme codemandeurs </a:t>
            </a:r>
            <a:r>
              <a:rPr lang="fr-FR" sz="1200" b="0" i="0" dirty="0">
                <a:solidFill>
                  <a:srgbClr val="0B2A43"/>
                </a:solidFill>
                <a:effectLst/>
                <a:latin typeface="+mj-lt"/>
              </a:rPr>
              <a:t>ou comme copropriétaires aux fins de la procédure devant l'Office européen des brevets. </a:t>
            </a:r>
            <a:endParaRPr lang="en-GB" sz="1200" dirty="0">
              <a:latin typeface="+mj-lt"/>
            </a:endParaRPr>
          </a:p>
          <a:p>
            <a:pPr lvl="1"/>
            <a:endParaRPr lang="en-GB" dirty="0">
              <a:latin typeface="+mj-lt"/>
            </a:endParaRPr>
          </a:p>
        </p:txBody>
      </p:sp>
      <p:sp>
        <p:nvSpPr>
          <p:cNvPr id="8" name="Subtitle 7">
            <a:extLst>
              <a:ext uri="{FF2B5EF4-FFF2-40B4-BE49-F238E27FC236}">
                <a16:creationId xmlns:a16="http://schemas.microsoft.com/office/drawing/2014/main" id="{6B2B6CC1-0346-42A9-B228-347B8513C398}"/>
              </a:ext>
            </a:extLst>
          </p:cNvPr>
          <p:cNvSpPr>
            <a:spLocks noGrp="1"/>
          </p:cNvSpPr>
          <p:nvPr>
            <p:ph type="subTitle" idx="12"/>
          </p:nvPr>
        </p:nvSpPr>
        <p:spPr/>
        <p:txBody>
          <a:bodyPr/>
          <a:lstStyle/>
          <a:p>
            <a:r>
              <a:rPr lang="fr-FR" dirty="0"/>
              <a:t>Trois approches</a:t>
            </a:r>
          </a:p>
          <a:p>
            <a:endParaRPr lang="en-GB" dirty="0"/>
          </a:p>
        </p:txBody>
      </p:sp>
      <p:sp>
        <p:nvSpPr>
          <p:cNvPr id="6" name="Title 5">
            <a:extLst>
              <a:ext uri="{FF2B5EF4-FFF2-40B4-BE49-F238E27FC236}">
                <a16:creationId xmlns:a16="http://schemas.microsoft.com/office/drawing/2014/main" id="{BD971297-6FE2-4412-87FF-2C4693A2A245}"/>
              </a:ext>
            </a:extLst>
          </p:cNvPr>
          <p:cNvSpPr>
            <a:spLocks noGrp="1"/>
          </p:cNvSpPr>
          <p:nvPr>
            <p:ph type="title"/>
          </p:nvPr>
        </p:nvSpPr>
        <p:spPr/>
        <p:txBody>
          <a:bodyPr/>
          <a:lstStyle/>
          <a:p>
            <a:r>
              <a:rPr lang="en-GB" sz="3200" dirty="0"/>
              <a:t>Droit de </a:t>
            </a:r>
            <a:r>
              <a:rPr lang="en-GB" sz="3200" dirty="0" err="1"/>
              <a:t>priorité</a:t>
            </a:r>
            <a:endParaRPr lang="en-GB" sz="3200" dirty="0"/>
          </a:p>
        </p:txBody>
      </p:sp>
      <p:sp>
        <p:nvSpPr>
          <p:cNvPr id="10" name="Footer Placeholder 2">
            <a:extLst>
              <a:ext uri="{FF2B5EF4-FFF2-40B4-BE49-F238E27FC236}">
                <a16:creationId xmlns:a16="http://schemas.microsoft.com/office/drawing/2014/main" id="{78AF3CE5-6336-4653-B8AC-29E7006C90FA}"/>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7429083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E9F658-5E90-45C4-894E-589431D0B98E}"/>
              </a:ext>
            </a:extLst>
          </p:cNvPr>
          <p:cNvSpPr>
            <a:spLocks noGrp="1"/>
          </p:cNvSpPr>
          <p:nvPr>
            <p:ph idx="14"/>
          </p:nvPr>
        </p:nvSpPr>
        <p:spPr/>
        <p:txBody>
          <a:bodyPr/>
          <a:lstStyle/>
          <a:p>
            <a:r>
              <a:rPr lang="fr-FR" b="1" dirty="0">
                <a:latin typeface="+mj-lt"/>
              </a:rPr>
              <a:t>Approche harmonisée et fondée </a:t>
            </a:r>
            <a:r>
              <a:rPr lang="fr-FR" sz="1400" dirty="0">
                <a:latin typeface="+mj-lt"/>
              </a:rPr>
              <a:t>mais</a:t>
            </a:r>
            <a:endParaRPr lang="fr-FR" dirty="0">
              <a:latin typeface="+mj-lt"/>
            </a:endParaRPr>
          </a:p>
          <a:p>
            <a:r>
              <a:rPr lang="fr-FR" b="1" dirty="0">
                <a:latin typeface="+mj-lt"/>
              </a:rPr>
              <a:t>Insécurité</a:t>
            </a:r>
            <a:r>
              <a:rPr lang="fr-FR" dirty="0">
                <a:latin typeface="+mj-lt"/>
              </a:rPr>
              <a:t> </a:t>
            </a:r>
            <a:r>
              <a:rPr lang="fr-FR" sz="1400" dirty="0">
                <a:latin typeface="+mj-lt"/>
              </a:rPr>
              <a:t>sur le régime juridique à appliquer – CR ont aussi appliqué différents droits nationaux</a:t>
            </a:r>
          </a:p>
          <a:p>
            <a:r>
              <a:rPr lang="fr-FR" sz="1400" dirty="0">
                <a:latin typeface="+mj-lt"/>
              </a:rPr>
              <a:t>CBE n'a pas de disposition sur les conflits de lois</a:t>
            </a:r>
          </a:p>
          <a:p>
            <a:r>
              <a:rPr lang="fr-FR" sz="1400" dirty="0">
                <a:latin typeface="+mj-lt"/>
              </a:rPr>
              <a:t>Si la CBE s'applique – il n'y a pas de règle formelle sur le transfert du droit de priorité – approche des demandeurs conjoints serait valable, y compris pour les PCT </a:t>
            </a:r>
          </a:p>
          <a:p>
            <a:r>
              <a:rPr lang="fr-FR" sz="1400" dirty="0">
                <a:latin typeface="+mj-lt"/>
              </a:rPr>
              <a:t>Les inventeurs ont donné un accord implicite à la cession de la priorité du fait de leur désignation comme déposant pour les US</a:t>
            </a:r>
          </a:p>
          <a:p>
            <a:endParaRPr lang="fr-FR" dirty="0">
              <a:latin typeface="+mj-lt"/>
            </a:endParaRPr>
          </a:p>
        </p:txBody>
      </p:sp>
      <p:sp>
        <p:nvSpPr>
          <p:cNvPr id="2" name="Content Placeholder 1">
            <a:extLst>
              <a:ext uri="{FF2B5EF4-FFF2-40B4-BE49-F238E27FC236}">
                <a16:creationId xmlns:a16="http://schemas.microsoft.com/office/drawing/2014/main" id="{246065C8-7416-437E-B789-D1FFBF99CC73}"/>
              </a:ext>
            </a:extLst>
          </p:cNvPr>
          <p:cNvSpPr>
            <a:spLocks noGrp="1"/>
          </p:cNvSpPr>
          <p:nvPr>
            <p:ph idx="13"/>
          </p:nvPr>
        </p:nvSpPr>
        <p:spPr/>
        <p:txBody>
          <a:bodyPr/>
          <a:lstStyle/>
          <a:p>
            <a:r>
              <a:rPr lang="fr-FR" b="1" dirty="0">
                <a:latin typeface="+mj-lt"/>
              </a:rPr>
              <a:t>Pas de règle de droit créé par le PCT sur la priorité</a:t>
            </a:r>
          </a:p>
          <a:p>
            <a:r>
              <a:rPr lang="fr-FR" sz="1400" dirty="0">
                <a:latin typeface="+mj-lt"/>
              </a:rPr>
              <a:t>Référence à CUP (Article 4)</a:t>
            </a:r>
          </a:p>
        </p:txBody>
      </p:sp>
      <p:sp>
        <p:nvSpPr>
          <p:cNvPr id="7" name="Content Placeholder 6">
            <a:extLst>
              <a:ext uri="{FF2B5EF4-FFF2-40B4-BE49-F238E27FC236}">
                <a16:creationId xmlns:a16="http://schemas.microsoft.com/office/drawing/2014/main" id="{0656F526-A4CB-4687-A0FB-85049DEEE473}"/>
              </a:ext>
            </a:extLst>
          </p:cNvPr>
          <p:cNvSpPr>
            <a:spLocks noGrp="1"/>
          </p:cNvSpPr>
          <p:nvPr>
            <p:ph idx="1"/>
          </p:nvPr>
        </p:nvSpPr>
        <p:spPr/>
        <p:txBody>
          <a:bodyPr/>
          <a:lstStyle/>
          <a:p>
            <a:r>
              <a:rPr lang="en-GB" b="1" i="0" dirty="0" err="1">
                <a:solidFill>
                  <a:srgbClr val="0B2A43"/>
                </a:solidFill>
                <a:effectLst/>
                <a:latin typeface="+mj-lt"/>
              </a:rPr>
              <a:t>Règle</a:t>
            </a:r>
            <a:r>
              <a:rPr lang="en-GB" b="1" i="0" dirty="0">
                <a:solidFill>
                  <a:srgbClr val="0B2A43"/>
                </a:solidFill>
                <a:effectLst/>
                <a:latin typeface="+mj-lt"/>
              </a:rPr>
              <a:t> 4.5(d) PCT</a:t>
            </a:r>
          </a:p>
          <a:p>
            <a:pPr lvl="1"/>
            <a:r>
              <a:rPr lang="fr-FR" sz="1400" dirty="0">
                <a:latin typeface="+mj-lt"/>
              </a:rPr>
              <a:t>Le déposant est désigné pour un état</a:t>
            </a:r>
          </a:p>
          <a:p>
            <a:pPr lvl="1"/>
            <a:r>
              <a:rPr lang="fr-FR" sz="1400" dirty="0">
                <a:latin typeface="+mj-lt"/>
              </a:rPr>
              <a:t>Son statut de déposant est donc limité à cet état</a:t>
            </a:r>
          </a:p>
          <a:p>
            <a:pPr marL="0" lvl="1" indent="0">
              <a:buNone/>
            </a:pPr>
            <a:endParaRPr lang="fr-FR" sz="1400" b="1" dirty="0">
              <a:latin typeface="+mj-lt"/>
            </a:endParaRPr>
          </a:p>
          <a:p>
            <a:pPr marL="0" lvl="1" indent="0">
              <a:buNone/>
            </a:pPr>
            <a:endParaRPr lang="en-GB" dirty="0">
              <a:latin typeface="+mj-lt"/>
            </a:endParaRPr>
          </a:p>
        </p:txBody>
      </p:sp>
      <p:sp>
        <p:nvSpPr>
          <p:cNvPr id="8" name="Subtitle 7">
            <a:extLst>
              <a:ext uri="{FF2B5EF4-FFF2-40B4-BE49-F238E27FC236}">
                <a16:creationId xmlns:a16="http://schemas.microsoft.com/office/drawing/2014/main" id="{6B2B6CC1-0346-42A9-B228-347B8513C398}"/>
              </a:ext>
            </a:extLst>
          </p:cNvPr>
          <p:cNvSpPr>
            <a:spLocks noGrp="1"/>
          </p:cNvSpPr>
          <p:nvPr>
            <p:ph type="subTitle" idx="12"/>
          </p:nvPr>
        </p:nvSpPr>
        <p:spPr/>
        <p:txBody>
          <a:bodyPr/>
          <a:lstStyle/>
          <a:p>
            <a:r>
              <a:rPr lang="fr-FR" dirty="0"/>
              <a:t>Trois approches</a:t>
            </a:r>
          </a:p>
          <a:p>
            <a:endParaRPr lang="en-GB" dirty="0"/>
          </a:p>
        </p:txBody>
      </p:sp>
      <p:sp>
        <p:nvSpPr>
          <p:cNvPr id="6" name="Title 5">
            <a:extLst>
              <a:ext uri="{FF2B5EF4-FFF2-40B4-BE49-F238E27FC236}">
                <a16:creationId xmlns:a16="http://schemas.microsoft.com/office/drawing/2014/main" id="{BD971297-6FE2-4412-87FF-2C4693A2A245}"/>
              </a:ext>
            </a:extLst>
          </p:cNvPr>
          <p:cNvSpPr>
            <a:spLocks noGrp="1"/>
          </p:cNvSpPr>
          <p:nvPr>
            <p:ph type="title"/>
          </p:nvPr>
        </p:nvSpPr>
        <p:spPr/>
        <p:txBody>
          <a:bodyPr/>
          <a:lstStyle/>
          <a:p>
            <a:r>
              <a:rPr lang="en-GB" sz="3200" dirty="0"/>
              <a:t>Droit de </a:t>
            </a:r>
            <a:r>
              <a:rPr lang="en-GB" sz="3200" dirty="0" err="1"/>
              <a:t>priorité</a:t>
            </a:r>
            <a:endParaRPr lang="en-GB" sz="3200" dirty="0"/>
          </a:p>
        </p:txBody>
      </p:sp>
      <p:sp>
        <p:nvSpPr>
          <p:cNvPr id="9" name="Footer Placeholder 2">
            <a:extLst>
              <a:ext uri="{FF2B5EF4-FFF2-40B4-BE49-F238E27FC236}">
                <a16:creationId xmlns:a16="http://schemas.microsoft.com/office/drawing/2014/main" id="{1EC7A152-1921-477D-85A1-01B5FDFC806D}"/>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1771341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1EB63B7-D64E-4A3B-A5C4-B771DCCAB6CE}"/>
              </a:ext>
            </a:extLst>
          </p:cNvPr>
          <p:cNvSpPr>
            <a:spLocks noGrp="1"/>
          </p:cNvSpPr>
          <p:nvPr>
            <p:ph type="pic" sz="quarter" idx="13"/>
          </p:nvPr>
        </p:nvSpPr>
        <p:spPr/>
      </p:sp>
      <p:sp>
        <p:nvSpPr>
          <p:cNvPr id="5" name="Title 4">
            <a:extLst>
              <a:ext uri="{FF2B5EF4-FFF2-40B4-BE49-F238E27FC236}">
                <a16:creationId xmlns:a16="http://schemas.microsoft.com/office/drawing/2014/main" id="{312FA0EA-15BF-428A-B158-503D5318D916}"/>
              </a:ext>
            </a:extLst>
          </p:cNvPr>
          <p:cNvSpPr>
            <a:spLocks noGrp="1"/>
          </p:cNvSpPr>
          <p:nvPr>
            <p:ph type="title"/>
          </p:nvPr>
        </p:nvSpPr>
        <p:spPr/>
        <p:txBody>
          <a:bodyPr/>
          <a:lstStyle/>
          <a:p>
            <a:endParaRPr lang="fr-FR" dirty="0"/>
          </a:p>
        </p:txBody>
      </p:sp>
      <p:sp>
        <p:nvSpPr>
          <p:cNvPr id="6" name="Subtitle 5">
            <a:extLst>
              <a:ext uri="{FF2B5EF4-FFF2-40B4-BE49-F238E27FC236}">
                <a16:creationId xmlns:a16="http://schemas.microsoft.com/office/drawing/2014/main" id="{F2C5D600-1CD2-425C-8754-6F6F906FCE06}"/>
              </a:ext>
            </a:extLst>
          </p:cNvPr>
          <p:cNvSpPr>
            <a:spLocks noGrp="1"/>
          </p:cNvSpPr>
          <p:nvPr>
            <p:ph type="subTitle" idx="12"/>
          </p:nvPr>
        </p:nvSpPr>
        <p:spPr/>
        <p:txBody>
          <a:bodyPr/>
          <a:lstStyle/>
          <a:p>
            <a:r>
              <a:rPr lang="fr-FR" dirty="0"/>
              <a:t>La Grande Chambre de Recours doit décider…</a:t>
            </a:r>
          </a:p>
        </p:txBody>
      </p:sp>
      <p:sp>
        <p:nvSpPr>
          <p:cNvPr id="7" name="Footer Placeholder 2">
            <a:extLst>
              <a:ext uri="{FF2B5EF4-FFF2-40B4-BE49-F238E27FC236}">
                <a16:creationId xmlns:a16="http://schemas.microsoft.com/office/drawing/2014/main" id="{59CD692A-B1A9-45D2-B213-E7C1C0A42AC8}"/>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7924379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9EDED4"/>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CE32C4-7D8E-4F12-88A8-9AB614ED3457}"/>
              </a:ext>
            </a:extLst>
          </p:cNvPr>
          <p:cNvSpPr>
            <a:spLocks noGrp="1"/>
          </p:cNvSpPr>
          <p:nvPr>
            <p:ph type="ctrTitle" idx="4294967295"/>
          </p:nvPr>
        </p:nvSpPr>
        <p:spPr>
          <a:xfrm>
            <a:off x="7658100" y="1944688"/>
            <a:ext cx="4533900" cy="544501"/>
          </a:xfrm>
        </p:spPr>
        <p:txBody>
          <a:bodyPr/>
          <a:lstStyle/>
          <a:p>
            <a:r>
              <a:rPr lang="en-GB" dirty="0"/>
              <a:t>Thank you</a:t>
            </a:r>
          </a:p>
        </p:txBody>
      </p:sp>
      <p:pic>
        <p:nvPicPr>
          <p:cNvPr id="11" name="Picture Placeholder 1">
            <a:extLst>
              <a:ext uri="{FF2B5EF4-FFF2-40B4-BE49-F238E27FC236}">
                <a16:creationId xmlns:a16="http://schemas.microsoft.com/office/drawing/2014/main" id="{46029C4D-8178-4210-9833-BD813938F9C7}"/>
              </a:ext>
            </a:extLst>
          </p:cNvPr>
          <p:cNvPicPr>
            <a:picLocks noGrp="1"/>
          </p:cNvPicPr>
          <p:nvPr>
            <p:ph type="pic" sz="quarter" idx="18"/>
          </p:nvPr>
        </p:nvPicPr>
        <p:blipFill rotWithShape="1">
          <a:blip r:embed="rId2">
            <a:extLst>
              <a:ext uri="{28A0092B-C50C-407E-A947-70E740481C1C}">
                <a14:useLocalDpi xmlns:a14="http://schemas.microsoft.com/office/drawing/2010/main" val="0"/>
              </a:ext>
            </a:extLst>
          </a:blip>
          <a:srcRect l="7707" r="7707"/>
          <a:stretch/>
        </p:blipFill>
        <p:spPr>
          <a:xfrm>
            <a:off x="802265" y="1654169"/>
            <a:ext cx="1641475" cy="1125537"/>
          </a:xfrm>
        </p:spPr>
      </p:pic>
      <p:sp>
        <p:nvSpPr>
          <p:cNvPr id="15" name="Name Placeholder 1">
            <a:extLst>
              <a:ext uri="{FF2B5EF4-FFF2-40B4-BE49-F238E27FC236}">
                <a16:creationId xmlns:a16="http://schemas.microsoft.com/office/drawing/2014/main" id="{EB448C79-FF72-44EE-A1C3-48B4049B5EF5}"/>
              </a:ext>
            </a:extLst>
          </p:cNvPr>
          <p:cNvSpPr txBox="1">
            <a:spLocks/>
          </p:cNvSpPr>
          <p:nvPr/>
        </p:nvSpPr>
        <p:spPr>
          <a:xfrm>
            <a:off x="2631065" y="1680152"/>
            <a:ext cx="1641475" cy="287338"/>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r>
              <a:rPr lang="en-GB" dirty="0"/>
              <a:t>Frédéric Portal</a:t>
            </a:r>
          </a:p>
        </p:txBody>
      </p:sp>
      <p:sp>
        <p:nvSpPr>
          <p:cNvPr id="16" name="Job Title 1">
            <a:extLst>
              <a:ext uri="{FF2B5EF4-FFF2-40B4-BE49-F238E27FC236}">
                <a16:creationId xmlns:a16="http://schemas.microsoft.com/office/drawing/2014/main" id="{14489F78-B930-454B-89CC-8609BDF1E6FA}"/>
              </a:ext>
            </a:extLst>
          </p:cNvPr>
          <p:cNvSpPr txBox="1">
            <a:spLocks/>
          </p:cNvSpPr>
          <p:nvPr/>
        </p:nvSpPr>
        <p:spPr>
          <a:xfrm>
            <a:off x="2732240" y="2068032"/>
            <a:ext cx="2266480" cy="297809"/>
          </a:xfrm>
          <a:prstGeom prst="rect">
            <a:avLst/>
          </a:prstGeom>
        </p:spPr>
        <p:txBody>
          <a:bodyPr vert="horz" lIns="0" tIns="0" rIns="0" bIns="0" rtlCol="0">
            <a:noAutofit/>
          </a:bodyPr>
          <a:lstStyle>
            <a:lvl1pPr marL="0" indent="0" algn="l" defTabSz="914377" rtl="0" eaLnBrk="1" latinLnBrk="0" hangingPunct="1">
              <a:lnSpc>
                <a:spcPct val="95000"/>
              </a:lnSpc>
              <a:spcBef>
                <a:spcPts val="0"/>
              </a:spcBef>
              <a:buFontTx/>
              <a:buNone/>
              <a:defRPr sz="1600" i="1" kern="1200">
                <a:solidFill>
                  <a:schemeClr val="tx1"/>
                </a:solidFill>
                <a:latin typeface="+mj-lt"/>
                <a:ea typeface="+mn-ea"/>
                <a:cs typeface="+mn-cs"/>
              </a:defRPr>
            </a:lvl1pPr>
            <a:lvl2pPr marL="0" indent="0" algn="l" defTabSz="914377" rtl="0" eaLnBrk="1" latinLnBrk="0" hangingPunct="1">
              <a:lnSpc>
                <a:spcPct val="95000"/>
              </a:lnSpc>
              <a:spcBef>
                <a:spcPts val="0"/>
              </a:spcBef>
              <a:buClr>
                <a:schemeClr val="tx2"/>
              </a:buClr>
              <a:buFontTx/>
              <a:buNone/>
              <a:defRPr sz="1600" i="1" kern="1200">
                <a:solidFill>
                  <a:schemeClr val="tx1"/>
                </a:solidFill>
                <a:latin typeface="+mj-lt"/>
                <a:ea typeface="+mn-ea"/>
                <a:cs typeface="+mn-cs"/>
              </a:defRPr>
            </a:lvl2pPr>
            <a:lvl3pPr marL="0" indent="0" algn="l" defTabSz="914377" rtl="0" eaLnBrk="1" latinLnBrk="0" hangingPunct="1">
              <a:lnSpc>
                <a:spcPct val="95000"/>
              </a:lnSpc>
              <a:spcBef>
                <a:spcPts val="0"/>
              </a:spcBef>
              <a:buClr>
                <a:schemeClr val="tx2"/>
              </a:buClr>
              <a:buFontTx/>
              <a:buNone/>
              <a:defRPr sz="1400" i="1" kern="1200">
                <a:solidFill>
                  <a:schemeClr val="tx1"/>
                </a:solidFill>
                <a:latin typeface="+mj-lt"/>
                <a:ea typeface="+mn-ea"/>
                <a:cs typeface="+mn-cs"/>
              </a:defRPr>
            </a:lvl3pPr>
            <a:lvl4pPr marL="0" indent="0" algn="l" defTabSz="914377" rtl="0" eaLnBrk="1" latinLnBrk="0" hangingPunct="1">
              <a:lnSpc>
                <a:spcPct val="95000"/>
              </a:lnSpc>
              <a:spcBef>
                <a:spcPts val="0"/>
              </a:spcBef>
              <a:buClr>
                <a:schemeClr val="tx2"/>
              </a:buClr>
              <a:buFontTx/>
              <a:buNone/>
              <a:defRPr sz="1200" i="1" kern="1200">
                <a:solidFill>
                  <a:schemeClr val="tx1"/>
                </a:solidFill>
                <a:latin typeface="+mj-lt"/>
                <a:ea typeface="+mn-ea"/>
                <a:cs typeface="+mn-cs"/>
              </a:defRPr>
            </a:lvl4pPr>
            <a:lvl5pPr marL="0" indent="0" algn="l" defTabSz="914377" rtl="0" eaLnBrk="1" latinLnBrk="0" hangingPunct="1">
              <a:lnSpc>
                <a:spcPct val="95000"/>
              </a:lnSpc>
              <a:spcBef>
                <a:spcPts val="0"/>
              </a:spcBef>
              <a:buClr>
                <a:schemeClr val="tx2"/>
              </a:buClr>
              <a:buFontTx/>
              <a:buNone/>
              <a:defRPr sz="1200" i="1" kern="1200">
                <a:solidFill>
                  <a:schemeClr val="tx1"/>
                </a:solidFill>
                <a:latin typeface="+mj-lt"/>
                <a:ea typeface="+mn-ea"/>
                <a:cs typeface="+mn-cs"/>
              </a:defRPr>
            </a:lvl5pPr>
            <a:lvl6pPr marL="0" indent="0" algn="l" defTabSz="914377" rtl="0" eaLnBrk="1" latinLnBrk="0" hangingPunct="1">
              <a:lnSpc>
                <a:spcPct val="95000"/>
              </a:lnSpc>
              <a:spcBef>
                <a:spcPts val="0"/>
              </a:spcBef>
              <a:buClr>
                <a:schemeClr val="tx2"/>
              </a:buClr>
              <a:buFontTx/>
              <a:buNone/>
              <a:defRPr sz="1200" i="1" kern="1200">
                <a:solidFill>
                  <a:schemeClr val="tx1"/>
                </a:solidFill>
                <a:latin typeface="+mj-lt"/>
                <a:ea typeface="+mn-ea"/>
                <a:cs typeface="+mn-cs"/>
              </a:defRPr>
            </a:lvl6pPr>
            <a:lvl7pPr marL="0" indent="0" algn="l" defTabSz="914377" rtl="0" eaLnBrk="1" latinLnBrk="0" hangingPunct="1">
              <a:lnSpc>
                <a:spcPct val="95000"/>
              </a:lnSpc>
              <a:spcBef>
                <a:spcPts val="0"/>
              </a:spcBef>
              <a:buFontTx/>
              <a:buNone/>
              <a:defRPr sz="1200" i="1" kern="1200">
                <a:solidFill>
                  <a:schemeClr val="tx1"/>
                </a:solidFill>
                <a:latin typeface="+mj-lt"/>
                <a:ea typeface="+mn-ea"/>
                <a:cs typeface="+mn-cs"/>
              </a:defRPr>
            </a:lvl7pPr>
            <a:lvl8pPr marL="0" indent="0" algn="l" defTabSz="914377" rtl="0" eaLnBrk="1" latinLnBrk="0" hangingPunct="1">
              <a:lnSpc>
                <a:spcPct val="95000"/>
              </a:lnSpc>
              <a:spcBef>
                <a:spcPts val="0"/>
              </a:spcBef>
              <a:buFontTx/>
              <a:buNone/>
              <a:defRPr sz="1200" i="1" kern="1200">
                <a:solidFill>
                  <a:schemeClr val="tx1"/>
                </a:solidFill>
                <a:latin typeface="+mj-lt"/>
                <a:ea typeface="+mn-ea"/>
                <a:cs typeface="+mn-cs"/>
              </a:defRPr>
            </a:lvl8pPr>
            <a:lvl9pPr marL="0" indent="0" algn="l" defTabSz="914377" rtl="0" eaLnBrk="1" latinLnBrk="0" hangingPunct="1">
              <a:lnSpc>
                <a:spcPct val="95000"/>
              </a:lnSpc>
              <a:spcBef>
                <a:spcPts val="0"/>
              </a:spcBef>
              <a:buFontTx/>
              <a:buNone/>
              <a:defRPr sz="1200" i="1" kern="1200">
                <a:solidFill>
                  <a:schemeClr val="tx1"/>
                </a:solidFill>
                <a:latin typeface="+mj-lt"/>
                <a:ea typeface="+mn-ea"/>
                <a:cs typeface="+mn-cs"/>
              </a:defRPr>
            </a:lvl9pPr>
          </a:lstStyle>
          <a:p>
            <a:r>
              <a:rPr lang="en-GB" dirty="0"/>
              <a:t>Avocat</a:t>
            </a:r>
          </a:p>
          <a:p>
            <a:r>
              <a:rPr lang="en-GB" dirty="0" err="1"/>
              <a:t>Mandataire</a:t>
            </a:r>
            <a:r>
              <a:rPr lang="en-GB" dirty="0"/>
              <a:t> OEB</a:t>
            </a:r>
          </a:p>
        </p:txBody>
      </p:sp>
      <p:sp>
        <p:nvSpPr>
          <p:cNvPr id="17" name="Contact Details 1">
            <a:extLst>
              <a:ext uri="{FF2B5EF4-FFF2-40B4-BE49-F238E27FC236}">
                <a16:creationId xmlns:a16="http://schemas.microsoft.com/office/drawing/2014/main" id="{6DFEFD78-2D5E-4C2F-821B-270D9D198262}"/>
              </a:ext>
            </a:extLst>
          </p:cNvPr>
          <p:cNvSpPr txBox="1">
            <a:spLocks/>
          </p:cNvSpPr>
          <p:nvPr/>
        </p:nvSpPr>
        <p:spPr>
          <a:xfrm>
            <a:off x="2631065" y="2571435"/>
            <a:ext cx="2188585" cy="297809"/>
          </a:xfrm>
          <a:prstGeom prst="roundRect">
            <a:avLst>
              <a:gd name="adj" fmla="val 50000"/>
            </a:avLst>
          </a:prstGeom>
          <a:solidFill>
            <a:srgbClr val="85ABE3"/>
          </a:solidFill>
        </p:spPr>
        <p:txBody>
          <a:bodyPr vert="horz" wrap="square" lIns="36000" tIns="18000" rIns="36000" bIns="18000" rtlCol="0" anchor="ctr" anchorCtr="0">
            <a:spAutoFit/>
          </a:bodyPr>
          <a:lstStyle>
            <a:lvl1pPr marL="0" indent="0" algn="l" defTabSz="914377" rtl="0" eaLnBrk="1" latinLnBrk="0" hangingPunct="1">
              <a:lnSpc>
                <a:spcPct val="95000"/>
              </a:lnSpc>
              <a:spcBef>
                <a:spcPts val="0"/>
              </a:spcBef>
              <a:buFont typeface="Arial" panose="020B0604020202020204" pitchFamily="34" charset="0"/>
              <a:buNone/>
              <a:defRPr sz="1200" kern="1200">
                <a:solidFill>
                  <a:schemeClr val="tx1"/>
                </a:solidFill>
                <a:latin typeface="+mj-lt"/>
                <a:ea typeface="+mn-ea"/>
                <a:cs typeface="+mn-cs"/>
              </a:defRPr>
            </a:lvl1pPr>
            <a:lvl2pPr marL="0" indent="0" algn="l" defTabSz="914377" rtl="0" eaLnBrk="1" latinLnBrk="0" hangingPunct="1">
              <a:lnSpc>
                <a:spcPct val="95000"/>
              </a:lnSpc>
              <a:spcBef>
                <a:spcPts val="0"/>
              </a:spcBef>
              <a:buClr>
                <a:schemeClr val="tx2"/>
              </a:buClr>
              <a:buFont typeface="Symbol" panose="05050102010706020507" pitchFamily="18" charset="2"/>
              <a:buNone/>
              <a:defRPr sz="1000" kern="1200">
                <a:solidFill>
                  <a:schemeClr val="tx1"/>
                </a:solidFill>
                <a:latin typeface="+mn-lt"/>
                <a:ea typeface="+mn-ea"/>
                <a:cs typeface="+mn-cs"/>
              </a:defRPr>
            </a:lvl2pPr>
            <a:lvl3pPr marL="0" indent="0" algn="l" defTabSz="914377" rtl="0" eaLnBrk="1" latinLnBrk="0" hangingPunct="1">
              <a:lnSpc>
                <a:spcPct val="95000"/>
              </a:lnSpc>
              <a:spcBef>
                <a:spcPts val="0"/>
              </a:spcBef>
              <a:buClr>
                <a:schemeClr val="tx2"/>
              </a:buClr>
              <a:buFont typeface="Arial" panose="020B0604020202020204" pitchFamily="34" charset="0"/>
              <a:buNone/>
              <a:defRPr sz="1000" kern="1200">
                <a:solidFill>
                  <a:schemeClr val="tx1"/>
                </a:solidFill>
                <a:latin typeface="+mn-lt"/>
                <a:ea typeface="+mn-ea"/>
                <a:cs typeface="+mn-cs"/>
              </a:defRPr>
            </a:lvl3pPr>
            <a:lvl4pPr marL="0" indent="0" algn="l" defTabSz="914377" rtl="0" eaLnBrk="1" latinLnBrk="0" hangingPunct="1">
              <a:lnSpc>
                <a:spcPct val="95000"/>
              </a:lnSpc>
              <a:spcBef>
                <a:spcPts val="0"/>
              </a:spcBef>
              <a:buClr>
                <a:schemeClr val="tx2"/>
              </a:buClr>
              <a:buFont typeface="Arial" panose="020B0604020202020204" pitchFamily="34" charset="0"/>
              <a:buNone/>
              <a:defRPr sz="1000" kern="1200">
                <a:solidFill>
                  <a:schemeClr val="tx1"/>
                </a:solidFill>
                <a:latin typeface="+mn-lt"/>
                <a:ea typeface="+mn-ea"/>
                <a:cs typeface="+mn-cs"/>
              </a:defRPr>
            </a:lvl4pPr>
            <a:lvl5pPr marL="0" indent="0" algn="l" defTabSz="914377" rtl="0" eaLnBrk="1" latinLnBrk="0" hangingPunct="1">
              <a:lnSpc>
                <a:spcPct val="95000"/>
              </a:lnSpc>
              <a:spcBef>
                <a:spcPts val="0"/>
              </a:spcBef>
              <a:buClr>
                <a:schemeClr val="tx2"/>
              </a:buClr>
              <a:buFont typeface="Arial" panose="020B0604020202020204" pitchFamily="34" charset="0"/>
              <a:buNone/>
              <a:defRPr sz="1000" kern="1200">
                <a:solidFill>
                  <a:schemeClr val="tx1"/>
                </a:solidFill>
                <a:latin typeface="+mn-lt"/>
                <a:ea typeface="+mn-ea"/>
                <a:cs typeface="+mn-cs"/>
              </a:defRPr>
            </a:lvl5pPr>
            <a:lvl6pPr marL="0" indent="0" algn="l" defTabSz="914377" rtl="0" eaLnBrk="1" latinLnBrk="0" hangingPunct="1">
              <a:lnSpc>
                <a:spcPct val="95000"/>
              </a:lnSpc>
              <a:spcBef>
                <a:spcPts val="0"/>
              </a:spcBef>
              <a:buClr>
                <a:schemeClr val="tx2"/>
              </a:buClr>
              <a:buFont typeface="Arial" panose="020B0604020202020204" pitchFamily="34" charset="0"/>
              <a:buNone/>
              <a:defRPr sz="1000" kern="1200">
                <a:solidFill>
                  <a:schemeClr val="tx1"/>
                </a:solidFill>
                <a:latin typeface="+mn-lt"/>
                <a:ea typeface="+mn-ea"/>
                <a:cs typeface="+mn-cs"/>
              </a:defRPr>
            </a:lvl6pPr>
            <a:lvl7pPr marL="0" indent="0" algn="l" defTabSz="914377" rtl="0" eaLnBrk="1" latinLnBrk="0" hangingPunct="1">
              <a:lnSpc>
                <a:spcPct val="95000"/>
              </a:lnSpc>
              <a:spcBef>
                <a:spcPts val="0"/>
              </a:spcBef>
              <a:buFont typeface="Arial" panose="020B0604020202020204" pitchFamily="34" charset="0"/>
              <a:buNone/>
              <a:defRPr sz="1000" kern="1200">
                <a:solidFill>
                  <a:schemeClr val="tx1"/>
                </a:solidFill>
                <a:latin typeface="+mn-lt"/>
                <a:ea typeface="+mn-ea"/>
                <a:cs typeface="+mn-cs"/>
              </a:defRPr>
            </a:lvl7pPr>
            <a:lvl8pPr marL="0" indent="0" algn="l" defTabSz="914377" rtl="0" eaLnBrk="1" latinLnBrk="0" hangingPunct="1">
              <a:lnSpc>
                <a:spcPct val="95000"/>
              </a:lnSpc>
              <a:spcBef>
                <a:spcPts val="0"/>
              </a:spcBef>
              <a:buFont typeface="Arial" panose="020B0604020202020204" pitchFamily="34" charset="0"/>
              <a:buNone/>
              <a:defRPr sz="1000" kern="1200">
                <a:solidFill>
                  <a:schemeClr val="tx1"/>
                </a:solidFill>
                <a:latin typeface="+mn-lt"/>
                <a:ea typeface="+mn-ea"/>
                <a:cs typeface="+mn-cs"/>
              </a:defRPr>
            </a:lvl8pPr>
            <a:lvl9pPr marL="0" indent="0" algn="l" defTabSz="914377" rtl="0" eaLnBrk="1" latinLnBrk="0" hangingPunct="1">
              <a:lnSpc>
                <a:spcPct val="95000"/>
              </a:lnSpc>
              <a:spcBef>
                <a:spcPts val="0"/>
              </a:spcBef>
              <a:buFont typeface="Arial" panose="020B0604020202020204" pitchFamily="34" charset="0"/>
              <a:buNone/>
              <a:defRPr sz="1000" kern="1200">
                <a:solidFill>
                  <a:schemeClr val="tx1"/>
                </a:solidFill>
                <a:latin typeface="+mn-lt"/>
                <a:ea typeface="+mn-ea"/>
                <a:cs typeface="+mn-cs"/>
              </a:defRPr>
            </a:lvl9pPr>
          </a:lstStyle>
          <a:p>
            <a:r>
              <a:rPr lang="en-GB" dirty="0">
                <a:hlinkClick r:id="rId3"/>
              </a:rPr>
              <a:t>frederic.portal@twobirds.com</a:t>
            </a:r>
            <a:r>
              <a:rPr lang="en-GB" dirty="0"/>
              <a:t> </a:t>
            </a:r>
          </a:p>
        </p:txBody>
      </p:sp>
    </p:spTree>
    <p:extLst>
      <p:ext uri="{BB962C8B-B14F-4D97-AF65-F5344CB8AC3E}">
        <p14:creationId xmlns:p14="http://schemas.microsoft.com/office/powerpoint/2010/main" val="1224340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615028C-37D2-48F3-989E-304DD522A88F}"/>
              </a:ext>
            </a:extLst>
          </p:cNvPr>
          <p:cNvSpPr>
            <a:spLocks noGrp="1"/>
          </p:cNvSpPr>
          <p:nvPr>
            <p:ph type="ftr" sz="quarter" idx="11"/>
          </p:nvPr>
        </p:nvSpPr>
        <p:spPr/>
        <p:txBody>
          <a:bodyPr/>
          <a:lstStyle/>
          <a:p>
            <a:r>
              <a:rPr lang="fr-FR" sz="800" dirty="0"/>
              <a:t>LIFE SCIENCES - Conférence Annuelle – 07 juin 2022</a:t>
            </a:r>
            <a:endParaRPr lang="en-GB" dirty="0"/>
          </a:p>
        </p:txBody>
      </p:sp>
      <p:sp>
        <p:nvSpPr>
          <p:cNvPr id="17" name="Content Placeholder 16">
            <a:extLst>
              <a:ext uri="{FF2B5EF4-FFF2-40B4-BE49-F238E27FC236}">
                <a16:creationId xmlns:a16="http://schemas.microsoft.com/office/drawing/2014/main" id="{546B3010-EB94-4961-9470-A294B66C04DB}"/>
              </a:ext>
            </a:extLst>
          </p:cNvPr>
          <p:cNvSpPr>
            <a:spLocks noGrp="1"/>
          </p:cNvSpPr>
          <p:nvPr>
            <p:ph idx="15"/>
          </p:nvPr>
        </p:nvSpPr>
        <p:spPr>
          <a:xfrm>
            <a:off x="6186488" y="4772025"/>
            <a:ext cx="5286374" cy="1841500"/>
          </a:xfrm>
        </p:spPr>
        <p:txBody>
          <a:bodyPr/>
          <a:lstStyle/>
          <a:p>
            <a:r>
              <a:rPr lang="fr-FR" b="1" dirty="0">
                <a:solidFill>
                  <a:srgbClr val="323E48"/>
                </a:solidFill>
                <a:latin typeface="+mj-lt"/>
              </a:rPr>
              <a:t>Information</a:t>
            </a:r>
          </a:p>
          <a:p>
            <a:pPr lvl="1"/>
            <a:r>
              <a:rPr lang="fr-FR" dirty="0">
                <a:solidFill>
                  <a:srgbClr val="323E48"/>
                </a:solidFill>
                <a:latin typeface="+mj-lt"/>
              </a:rPr>
              <a:t>L'employeur informe le salarié </a:t>
            </a:r>
          </a:p>
          <a:p>
            <a:pPr lvl="2"/>
            <a:r>
              <a:rPr lang="fr-FR" b="1" dirty="0">
                <a:solidFill>
                  <a:srgbClr val="323E48"/>
                </a:solidFill>
                <a:latin typeface="+mj-lt"/>
              </a:rPr>
              <a:t>dépôt d'une demande de brevet</a:t>
            </a:r>
          </a:p>
          <a:p>
            <a:pPr marL="180000" lvl="2" indent="0">
              <a:buNone/>
            </a:pPr>
            <a:r>
              <a:rPr lang="fr-FR" dirty="0">
                <a:solidFill>
                  <a:srgbClr val="323E48"/>
                </a:solidFill>
                <a:latin typeface="+mj-lt"/>
              </a:rPr>
              <a:t>et </a:t>
            </a:r>
          </a:p>
          <a:p>
            <a:pPr lvl="2"/>
            <a:r>
              <a:rPr lang="fr-FR" b="1" dirty="0">
                <a:solidFill>
                  <a:srgbClr val="323E48"/>
                </a:solidFill>
                <a:latin typeface="+mj-lt"/>
              </a:rPr>
              <a:t>lors de la délivrance</a:t>
            </a:r>
            <a:endParaRPr lang="fr-FR" dirty="0"/>
          </a:p>
        </p:txBody>
      </p:sp>
      <p:sp>
        <p:nvSpPr>
          <p:cNvPr id="15" name="Content Placeholder 14">
            <a:extLst>
              <a:ext uri="{FF2B5EF4-FFF2-40B4-BE49-F238E27FC236}">
                <a16:creationId xmlns:a16="http://schemas.microsoft.com/office/drawing/2014/main" id="{553489DD-60ED-468B-8E24-0DA4B203E310}"/>
              </a:ext>
            </a:extLst>
          </p:cNvPr>
          <p:cNvSpPr>
            <a:spLocks noGrp="1"/>
          </p:cNvSpPr>
          <p:nvPr>
            <p:ph idx="13"/>
          </p:nvPr>
        </p:nvSpPr>
        <p:spPr>
          <a:xfrm>
            <a:off x="6186488" y="2022739"/>
            <a:ext cx="5286374" cy="1922219"/>
          </a:xfrm>
        </p:spPr>
        <p:txBody>
          <a:bodyPr/>
          <a:lstStyle/>
          <a:p>
            <a:pPr algn="just"/>
            <a:r>
              <a:rPr lang="fr-FR" sz="1600" b="0" dirty="0">
                <a:solidFill>
                  <a:srgbClr val="323E48"/>
                </a:solidFill>
                <a:effectLst/>
                <a:latin typeface="+mj-lt"/>
              </a:rPr>
              <a:t>le droit au titre de propriété industrielle, </a:t>
            </a:r>
            <a:r>
              <a:rPr lang="fr-FR" sz="1600" b="1" dirty="0">
                <a:solidFill>
                  <a:srgbClr val="323E48"/>
                </a:solidFill>
                <a:effectLst/>
                <a:latin typeface="+mj-lt"/>
              </a:rPr>
              <a:t>à défaut de stipulation contractuelle plus favorable au salarié</a:t>
            </a:r>
          </a:p>
          <a:p>
            <a:pPr lvl="2" algn="just"/>
            <a:r>
              <a:rPr lang="fr-FR" b="1" dirty="0">
                <a:solidFill>
                  <a:srgbClr val="323E48"/>
                </a:solidFill>
                <a:latin typeface="+mj-lt"/>
              </a:rPr>
              <a:t>appartient à l'employeur </a:t>
            </a:r>
            <a:r>
              <a:rPr lang="fr-FR" dirty="0">
                <a:solidFill>
                  <a:srgbClr val="323E48"/>
                </a:solidFill>
                <a:latin typeface="+mj-lt"/>
              </a:rPr>
              <a:t>(</a:t>
            </a:r>
            <a:r>
              <a:rPr lang="fr-FR" i="1" dirty="0">
                <a:solidFill>
                  <a:srgbClr val="323E48"/>
                </a:solidFill>
                <a:latin typeface="+mj-lt"/>
              </a:rPr>
              <a:t>ab initio</a:t>
            </a:r>
            <a:r>
              <a:rPr lang="fr-FR" dirty="0">
                <a:solidFill>
                  <a:srgbClr val="323E48"/>
                </a:solidFill>
                <a:latin typeface="+mj-lt"/>
              </a:rPr>
              <a:t>)</a:t>
            </a:r>
          </a:p>
          <a:p>
            <a:pPr lvl="2" algn="just"/>
            <a:r>
              <a:rPr lang="fr-FR" b="1" dirty="0">
                <a:solidFill>
                  <a:srgbClr val="323E48"/>
                </a:solidFill>
                <a:latin typeface="+mj-lt"/>
              </a:rPr>
              <a:t>rémunération</a:t>
            </a:r>
            <a:r>
              <a:rPr lang="fr-FR" dirty="0">
                <a:solidFill>
                  <a:srgbClr val="323E48"/>
                </a:solidFill>
                <a:latin typeface="+mj-lt"/>
              </a:rPr>
              <a:t> </a:t>
            </a:r>
            <a:r>
              <a:rPr lang="fr-FR" b="1" dirty="0">
                <a:solidFill>
                  <a:srgbClr val="323E48"/>
                </a:solidFill>
                <a:latin typeface="+mj-lt"/>
              </a:rPr>
              <a:t>supplémentaire</a:t>
            </a:r>
            <a:r>
              <a:rPr lang="fr-FR" dirty="0">
                <a:solidFill>
                  <a:srgbClr val="323E48"/>
                </a:solidFill>
                <a:latin typeface="+mj-lt"/>
              </a:rPr>
              <a:t> </a:t>
            </a:r>
          </a:p>
          <a:p>
            <a:pPr lvl="3" algn="just"/>
            <a:r>
              <a:rPr lang="fr-FR" dirty="0">
                <a:solidFill>
                  <a:srgbClr val="323E48"/>
                </a:solidFill>
                <a:latin typeface="+mj-lt"/>
              </a:rPr>
              <a:t>conditions</a:t>
            </a:r>
          </a:p>
          <a:p>
            <a:pPr lvl="4" algn="just"/>
            <a:r>
              <a:rPr lang="fr-FR" dirty="0">
                <a:solidFill>
                  <a:srgbClr val="323E48"/>
                </a:solidFill>
                <a:latin typeface="+mj-lt"/>
              </a:rPr>
              <a:t>les conventions collectives, </a:t>
            </a:r>
          </a:p>
          <a:p>
            <a:pPr lvl="4" algn="just"/>
            <a:r>
              <a:rPr lang="fr-FR" dirty="0">
                <a:solidFill>
                  <a:srgbClr val="323E48"/>
                </a:solidFill>
                <a:latin typeface="+mj-lt"/>
              </a:rPr>
              <a:t>les accords d'entreprise et </a:t>
            </a:r>
          </a:p>
          <a:p>
            <a:pPr lvl="4" algn="just"/>
            <a:r>
              <a:rPr lang="fr-FR" dirty="0">
                <a:solidFill>
                  <a:srgbClr val="323E48"/>
                </a:solidFill>
                <a:latin typeface="+mj-lt"/>
              </a:rPr>
              <a:t>les contrats individuels de travail</a:t>
            </a:r>
            <a:endParaRPr lang="fr-FR" dirty="0"/>
          </a:p>
        </p:txBody>
      </p:sp>
      <p:sp>
        <p:nvSpPr>
          <p:cNvPr id="13" name="Content Placeholder 12">
            <a:extLst>
              <a:ext uri="{FF2B5EF4-FFF2-40B4-BE49-F238E27FC236}">
                <a16:creationId xmlns:a16="http://schemas.microsoft.com/office/drawing/2014/main" id="{2F44C69E-DD7E-4D19-9E70-4364FA61C047}"/>
              </a:ext>
            </a:extLst>
          </p:cNvPr>
          <p:cNvSpPr>
            <a:spLocks noGrp="1"/>
          </p:cNvSpPr>
          <p:nvPr>
            <p:ph idx="1"/>
          </p:nvPr>
        </p:nvSpPr>
        <p:spPr>
          <a:xfrm>
            <a:off x="719138" y="2022739"/>
            <a:ext cx="5286374" cy="3230562"/>
          </a:xfrm>
        </p:spPr>
        <p:txBody>
          <a:bodyPr/>
          <a:lstStyle/>
          <a:p>
            <a:pPr marL="285750" indent="-285750" algn="just">
              <a:buFont typeface="Wingdings" panose="05000000000000000000" pitchFamily="2" charset="2"/>
              <a:buChar char="Ø"/>
            </a:pPr>
            <a:r>
              <a:rPr lang="fr-FR" sz="1600" b="1" dirty="0">
                <a:solidFill>
                  <a:schemeClr val="tx2"/>
                </a:solidFill>
                <a:effectLst/>
                <a:latin typeface="+mj-lt"/>
              </a:rPr>
              <a:t>Exception à L. 611-6 CPI</a:t>
            </a:r>
          </a:p>
          <a:p>
            <a:pPr lvl="1" algn="just"/>
            <a:endParaRPr lang="fr-FR" dirty="0">
              <a:solidFill>
                <a:srgbClr val="323E48"/>
              </a:solidFill>
              <a:effectLst/>
              <a:latin typeface="+mj-lt"/>
            </a:endParaRPr>
          </a:p>
          <a:p>
            <a:pPr lvl="1" algn="just"/>
            <a:r>
              <a:rPr lang="fr-FR" dirty="0">
                <a:solidFill>
                  <a:srgbClr val="323E48"/>
                </a:solidFill>
                <a:effectLst/>
                <a:latin typeface="+mj-lt"/>
              </a:rPr>
              <a:t>Si</a:t>
            </a:r>
            <a:r>
              <a:rPr lang="fr-FR" b="1" dirty="0">
                <a:solidFill>
                  <a:srgbClr val="323E48"/>
                </a:solidFill>
                <a:effectLst/>
                <a:latin typeface="+mj-lt"/>
              </a:rPr>
              <a:t> </a:t>
            </a:r>
            <a:r>
              <a:rPr lang="fr-FR" dirty="0">
                <a:solidFill>
                  <a:srgbClr val="323E48"/>
                </a:solidFill>
                <a:effectLst/>
                <a:latin typeface="+mj-lt"/>
              </a:rPr>
              <a:t>l'</a:t>
            </a:r>
            <a:r>
              <a:rPr lang="fr-FR" b="1" dirty="0">
                <a:solidFill>
                  <a:srgbClr val="323E48"/>
                </a:solidFill>
                <a:effectLst/>
                <a:latin typeface="+mj-lt"/>
              </a:rPr>
              <a:t>inventeur </a:t>
            </a:r>
            <a:r>
              <a:rPr lang="fr-FR" dirty="0">
                <a:solidFill>
                  <a:srgbClr val="323E48"/>
                </a:solidFill>
                <a:effectLst/>
                <a:latin typeface="+mj-lt"/>
              </a:rPr>
              <a:t>est un </a:t>
            </a:r>
            <a:r>
              <a:rPr lang="fr-FR" b="1" dirty="0">
                <a:solidFill>
                  <a:srgbClr val="323E48"/>
                </a:solidFill>
                <a:effectLst/>
                <a:latin typeface="+mj-lt"/>
              </a:rPr>
              <a:t>salarié</a:t>
            </a:r>
          </a:p>
          <a:p>
            <a:pPr marL="0" lvl="4" indent="0" algn="just">
              <a:buNone/>
            </a:pPr>
            <a:endParaRPr lang="fr-FR" b="1" dirty="0">
              <a:solidFill>
                <a:srgbClr val="323E48"/>
              </a:solidFill>
              <a:latin typeface="+mj-lt"/>
            </a:endParaRPr>
          </a:p>
          <a:p>
            <a:pPr marL="0" lvl="4" indent="0" algn="just">
              <a:buNone/>
            </a:pPr>
            <a:r>
              <a:rPr lang="fr-FR" b="1" dirty="0">
                <a:solidFill>
                  <a:srgbClr val="323E48"/>
                </a:solidFill>
                <a:latin typeface="+mj-lt"/>
              </a:rPr>
              <a:t>Exécution </a:t>
            </a:r>
          </a:p>
          <a:p>
            <a:pPr lvl="1"/>
            <a:r>
              <a:rPr lang="fr-FR" dirty="0">
                <a:solidFill>
                  <a:srgbClr val="323E48"/>
                </a:solidFill>
                <a:latin typeface="+mj-lt"/>
              </a:rPr>
              <a:t>soit d'un </a:t>
            </a:r>
            <a:r>
              <a:rPr lang="fr-FR" b="1" dirty="0">
                <a:solidFill>
                  <a:srgbClr val="323E48"/>
                </a:solidFill>
                <a:latin typeface="+mj-lt"/>
              </a:rPr>
              <a:t>contrat de travail </a:t>
            </a:r>
          </a:p>
          <a:p>
            <a:pPr lvl="2"/>
            <a:r>
              <a:rPr lang="fr-FR" dirty="0">
                <a:solidFill>
                  <a:srgbClr val="323E48"/>
                </a:solidFill>
                <a:latin typeface="+mj-lt"/>
              </a:rPr>
              <a:t>comportant une </a:t>
            </a:r>
            <a:r>
              <a:rPr lang="fr-FR" b="1" dirty="0">
                <a:solidFill>
                  <a:srgbClr val="323E48"/>
                </a:solidFill>
                <a:latin typeface="+mj-lt"/>
              </a:rPr>
              <a:t>mission inventive </a:t>
            </a:r>
            <a:r>
              <a:rPr lang="fr-FR" dirty="0">
                <a:solidFill>
                  <a:srgbClr val="323E48"/>
                </a:solidFill>
                <a:latin typeface="+mj-lt"/>
              </a:rPr>
              <a:t>qui correspond à ses fonctions effectives </a:t>
            </a:r>
          </a:p>
          <a:p>
            <a:pPr lvl="1"/>
            <a:r>
              <a:rPr lang="fr-FR" dirty="0">
                <a:solidFill>
                  <a:srgbClr val="323E48"/>
                </a:solidFill>
                <a:latin typeface="+mj-lt"/>
              </a:rPr>
              <a:t>soit d'</a:t>
            </a:r>
            <a:r>
              <a:rPr lang="fr-FR" b="1" dirty="0">
                <a:solidFill>
                  <a:srgbClr val="323E48"/>
                </a:solidFill>
                <a:latin typeface="+mj-lt"/>
              </a:rPr>
              <a:t>études </a:t>
            </a:r>
            <a:r>
              <a:rPr lang="fr-FR" dirty="0">
                <a:solidFill>
                  <a:srgbClr val="323E48"/>
                </a:solidFill>
                <a:latin typeface="+mj-lt"/>
              </a:rPr>
              <a:t>et de</a:t>
            </a:r>
            <a:r>
              <a:rPr lang="fr-FR" b="1" dirty="0">
                <a:solidFill>
                  <a:srgbClr val="323E48"/>
                </a:solidFill>
                <a:latin typeface="+mj-lt"/>
              </a:rPr>
              <a:t> recherches </a:t>
            </a:r>
            <a:r>
              <a:rPr lang="fr-FR" dirty="0">
                <a:solidFill>
                  <a:srgbClr val="323E48"/>
                </a:solidFill>
                <a:latin typeface="+mj-lt"/>
              </a:rPr>
              <a:t>qui lui sont </a:t>
            </a:r>
            <a:r>
              <a:rPr lang="fr-FR" b="1" dirty="0">
                <a:solidFill>
                  <a:srgbClr val="323E48"/>
                </a:solidFill>
                <a:latin typeface="+mj-lt"/>
              </a:rPr>
              <a:t>explicitement </a:t>
            </a:r>
            <a:r>
              <a:rPr lang="fr-FR" dirty="0">
                <a:solidFill>
                  <a:srgbClr val="323E48"/>
                </a:solidFill>
                <a:latin typeface="+mj-lt"/>
              </a:rPr>
              <a:t>confiées </a:t>
            </a:r>
            <a:endParaRPr lang="fr-FR" dirty="0"/>
          </a:p>
          <a:p>
            <a:pPr algn="just"/>
            <a:endParaRPr lang="fr-FR" dirty="0"/>
          </a:p>
        </p:txBody>
      </p:sp>
      <p:sp>
        <p:nvSpPr>
          <p:cNvPr id="14" name="Subtitle 13">
            <a:extLst>
              <a:ext uri="{FF2B5EF4-FFF2-40B4-BE49-F238E27FC236}">
                <a16:creationId xmlns:a16="http://schemas.microsoft.com/office/drawing/2014/main" id="{4C9BE118-E1C0-416C-8535-044768133D1C}"/>
              </a:ext>
            </a:extLst>
          </p:cNvPr>
          <p:cNvSpPr>
            <a:spLocks noGrp="1"/>
          </p:cNvSpPr>
          <p:nvPr>
            <p:ph type="subTitle" idx="12"/>
          </p:nvPr>
        </p:nvSpPr>
        <p:spPr/>
        <p:txBody>
          <a:bodyPr/>
          <a:lstStyle/>
          <a:p>
            <a:r>
              <a:rPr lang="fr-FR" sz="2400" dirty="0"/>
              <a:t>Article L. 611-7 1° Code de la propriété intellectuelle</a:t>
            </a:r>
            <a:endParaRPr lang="en-GB" sz="2400" dirty="0"/>
          </a:p>
          <a:p>
            <a:endParaRPr lang="fr-FR" dirty="0"/>
          </a:p>
        </p:txBody>
      </p:sp>
      <p:sp>
        <p:nvSpPr>
          <p:cNvPr id="12" name="Title 11">
            <a:extLst>
              <a:ext uri="{FF2B5EF4-FFF2-40B4-BE49-F238E27FC236}">
                <a16:creationId xmlns:a16="http://schemas.microsoft.com/office/drawing/2014/main" id="{9244EF4F-B577-4E89-AEC7-0185D0A8370E}"/>
              </a:ext>
            </a:extLst>
          </p:cNvPr>
          <p:cNvSpPr>
            <a:spLocks noGrp="1"/>
          </p:cNvSpPr>
          <p:nvPr>
            <p:ph type="title"/>
          </p:nvPr>
        </p:nvSpPr>
        <p:spPr/>
        <p:txBody>
          <a:bodyPr/>
          <a:lstStyle/>
          <a:p>
            <a:r>
              <a:rPr lang="fr-FR" sz="4000" dirty="0"/>
              <a:t>Principe</a:t>
            </a:r>
            <a:endParaRPr lang="fr-FR" dirty="0"/>
          </a:p>
        </p:txBody>
      </p:sp>
    </p:spTree>
    <p:extLst>
      <p:ext uri="{BB962C8B-B14F-4D97-AF65-F5344CB8AC3E}">
        <p14:creationId xmlns:p14="http://schemas.microsoft.com/office/powerpoint/2010/main" val="2660268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8657880B-462C-4BD5-AB46-A548ADED386C}"/>
              </a:ext>
            </a:extLst>
          </p:cNvPr>
          <p:cNvSpPr>
            <a:spLocks noGrp="1"/>
          </p:cNvSpPr>
          <p:nvPr>
            <p:ph idx="1"/>
          </p:nvPr>
        </p:nvSpPr>
        <p:spPr>
          <a:xfrm>
            <a:off x="719137" y="1807144"/>
            <a:ext cx="5286376" cy="4006800"/>
          </a:xfrm>
        </p:spPr>
        <p:txBody>
          <a:bodyPr/>
          <a:lstStyle/>
          <a:p>
            <a:pPr algn="just">
              <a:lnSpc>
                <a:spcPct val="100000"/>
              </a:lnSpc>
              <a:buClr>
                <a:srgbClr val="005C82"/>
              </a:buClr>
              <a:defRPr/>
            </a:pPr>
            <a:r>
              <a:rPr lang="en-GB" dirty="0">
                <a:latin typeface="+mj-lt"/>
              </a:rPr>
              <a:t>" </a:t>
            </a:r>
            <a:r>
              <a:rPr lang="en-GB" b="1" i="1" dirty="0">
                <a:latin typeface="+mj-lt"/>
              </a:rPr>
              <a:t>T</a:t>
            </a:r>
            <a:r>
              <a:rPr lang="fr-FR" b="1" i="1" dirty="0" err="1">
                <a:latin typeface="+mj-lt"/>
              </a:rPr>
              <a:t>outes</a:t>
            </a:r>
            <a:r>
              <a:rPr lang="fr-FR" b="1" i="1" dirty="0">
                <a:latin typeface="+mj-lt"/>
              </a:rPr>
              <a:t> les autres inventions appartiennent au salarié</a:t>
            </a:r>
            <a:r>
              <a:rPr lang="fr-FR" i="1" dirty="0">
                <a:latin typeface="+mj-lt"/>
              </a:rPr>
              <a:t>." </a:t>
            </a:r>
          </a:p>
          <a:p>
            <a:pPr marL="465750" marR="0" lvl="1" indent="-285750" algn="just" defTabSz="914377" rtl="0" eaLnBrk="1" fontAlgn="auto" latinLnBrk="0" hangingPunct="1">
              <a:lnSpc>
                <a:spcPct val="100000"/>
              </a:lnSpc>
              <a:spcBef>
                <a:spcPts val="800"/>
              </a:spcBef>
              <a:spcAft>
                <a:spcPts val="0"/>
              </a:spcAft>
              <a:buClr>
                <a:srgbClr val="005C82"/>
              </a:buClr>
              <a:buSzTx/>
              <a:buFont typeface="Wingdings" panose="05000000000000000000" pitchFamily="2" charset="2"/>
              <a:buChar char="Ø"/>
              <a:tabLst/>
              <a:defRPr/>
            </a:pPr>
            <a:r>
              <a:rPr kumimoji="0" lang="fr-FR" b="1" i="0" u="none" strike="noStrike" kern="1200" cap="none" spc="0" normalizeH="0" baseline="0" noProof="0" dirty="0">
                <a:ln>
                  <a:noFill/>
                </a:ln>
                <a:solidFill>
                  <a:srgbClr val="005C82"/>
                </a:solidFill>
                <a:effectLst/>
                <a:uLnTx/>
                <a:uFillTx/>
                <a:latin typeface="+mj-lt"/>
                <a:ea typeface="+mn-ea"/>
                <a:cs typeface="+mn-cs"/>
              </a:rPr>
              <a:t>L'invention hors mission attribuable</a:t>
            </a:r>
          </a:p>
          <a:p>
            <a:pPr algn="just">
              <a:lnSpc>
                <a:spcPct val="100000"/>
              </a:lnSpc>
            </a:pPr>
            <a:r>
              <a:rPr lang="fr-FR" sz="1400" dirty="0">
                <a:latin typeface="+mj-lt"/>
              </a:rPr>
              <a:t>Mais</a:t>
            </a:r>
          </a:p>
          <a:p>
            <a:pPr algn="just">
              <a:lnSpc>
                <a:spcPct val="100000"/>
              </a:lnSpc>
            </a:pPr>
            <a:r>
              <a:rPr lang="fr-FR" sz="1400" dirty="0">
                <a:latin typeface="+mj-lt"/>
              </a:rPr>
              <a:t> si l'invention est faite par un salarié : </a:t>
            </a:r>
          </a:p>
          <a:p>
            <a:pPr marL="645750" lvl="2" indent="-285750" algn="just">
              <a:lnSpc>
                <a:spcPct val="100000"/>
              </a:lnSpc>
              <a:buFont typeface="Arial" panose="020B0604020202020204" pitchFamily="34" charset="0"/>
              <a:buChar char="•"/>
            </a:pPr>
            <a:r>
              <a:rPr lang="fr-FR" sz="1400" dirty="0">
                <a:latin typeface="+mj-lt"/>
              </a:rPr>
              <a:t>dans le cours de </a:t>
            </a:r>
            <a:r>
              <a:rPr lang="fr-FR" sz="1400" b="1" dirty="0">
                <a:latin typeface="+mj-lt"/>
              </a:rPr>
              <a:t>l'exécution de ses fonctions</a:t>
            </a:r>
            <a:r>
              <a:rPr lang="fr-FR" sz="1400" dirty="0">
                <a:latin typeface="+mj-lt"/>
              </a:rPr>
              <a:t>, </a:t>
            </a:r>
          </a:p>
          <a:p>
            <a:pPr marL="645750" lvl="2" indent="-285750" algn="just">
              <a:lnSpc>
                <a:spcPct val="100000"/>
              </a:lnSpc>
              <a:buFont typeface="Arial" panose="020B0604020202020204" pitchFamily="34" charset="0"/>
              <a:buChar char="•"/>
            </a:pPr>
            <a:r>
              <a:rPr lang="fr-FR" sz="1400" dirty="0">
                <a:latin typeface="+mj-lt"/>
              </a:rPr>
              <a:t>dans le </a:t>
            </a:r>
            <a:r>
              <a:rPr lang="fr-FR" sz="1400" b="1" dirty="0">
                <a:latin typeface="+mj-lt"/>
              </a:rPr>
              <a:t>domaine des activités de l'entreprise</a:t>
            </a:r>
            <a:r>
              <a:rPr lang="fr-FR" sz="1400" dirty="0">
                <a:latin typeface="+mj-lt"/>
              </a:rPr>
              <a:t>, </a:t>
            </a:r>
          </a:p>
          <a:p>
            <a:pPr marL="645750" lvl="2" indent="-285750" algn="just">
              <a:lnSpc>
                <a:spcPct val="100000"/>
              </a:lnSpc>
              <a:buFont typeface="Arial" panose="020B0604020202020204" pitchFamily="34" charset="0"/>
              <a:buChar char="•"/>
            </a:pPr>
            <a:r>
              <a:rPr lang="fr-FR" sz="1400" dirty="0">
                <a:latin typeface="+mj-lt"/>
              </a:rPr>
              <a:t>par la </a:t>
            </a:r>
            <a:r>
              <a:rPr lang="fr-FR" sz="1400" b="1" dirty="0">
                <a:latin typeface="+mj-lt"/>
              </a:rPr>
              <a:t>connaissance ou l'utilisation des techniques ou de moyens spécifiques à l'entreprise</a:t>
            </a:r>
            <a:r>
              <a:rPr lang="fr-FR" sz="1400" dirty="0">
                <a:latin typeface="+mj-lt"/>
              </a:rPr>
              <a:t>, ou de données procurées par elle</a:t>
            </a:r>
          </a:p>
          <a:p>
            <a:pPr lvl="2" indent="0" algn="just">
              <a:lnSpc>
                <a:spcPct val="100000"/>
              </a:lnSpc>
              <a:buNone/>
            </a:pPr>
            <a:endParaRPr lang="fr-FR" sz="1400" dirty="0">
              <a:latin typeface="+mj-lt"/>
            </a:endParaRPr>
          </a:p>
          <a:p>
            <a:pPr marL="285750" lvl="1" indent="-285750" algn="just">
              <a:lnSpc>
                <a:spcPct val="100000"/>
              </a:lnSpc>
              <a:buFontTx/>
              <a:buChar char="-"/>
            </a:pPr>
            <a:r>
              <a:rPr lang="fr-FR" sz="1400" dirty="0">
                <a:latin typeface="+mj-lt"/>
              </a:rPr>
              <a:t>l'employeur a le droit de </a:t>
            </a:r>
            <a:r>
              <a:rPr lang="fr-FR" sz="1400" b="1" dirty="0">
                <a:latin typeface="+mj-lt"/>
              </a:rPr>
              <a:t>se faire attribuer la propriété ou la jouissance du brevet </a:t>
            </a:r>
            <a:r>
              <a:rPr lang="fr-FR" sz="1400" dirty="0">
                <a:latin typeface="+mj-lt"/>
              </a:rPr>
              <a:t>protégeant l'invention du salarié.</a:t>
            </a:r>
          </a:p>
          <a:p>
            <a:pPr marL="285750" lvl="1" indent="-285750" algn="just">
              <a:lnSpc>
                <a:spcPct val="100000"/>
              </a:lnSpc>
              <a:buFontTx/>
              <a:buChar char="-"/>
            </a:pPr>
            <a:r>
              <a:rPr lang="fr-FR" sz="1400" dirty="0">
                <a:latin typeface="+mj-lt"/>
              </a:rPr>
              <a:t>Le salarié doit obtenir en compensation le </a:t>
            </a:r>
            <a:r>
              <a:rPr lang="fr-FR" sz="1400" b="1" dirty="0">
                <a:latin typeface="+mj-lt"/>
              </a:rPr>
              <a:t>juste prix</a:t>
            </a:r>
            <a:r>
              <a:rPr lang="fr-FR" sz="1400" dirty="0">
                <a:latin typeface="+mj-lt"/>
              </a:rPr>
              <a:t>.</a:t>
            </a:r>
          </a:p>
          <a:p>
            <a:pPr marL="285750" indent="-285750" algn="just">
              <a:lnSpc>
                <a:spcPct val="100000"/>
              </a:lnSpc>
              <a:buFontTx/>
              <a:buChar char="-"/>
            </a:pPr>
            <a:endParaRPr lang="en-GB" sz="1400" dirty="0">
              <a:latin typeface="+mj-lt"/>
            </a:endParaRPr>
          </a:p>
        </p:txBody>
      </p:sp>
      <p:sp>
        <p:nvSpPr>
          <p:cNvPr id="11" name="Subtitle 11">
            <a:extLst>
              <a:ext uri="{FF2B5EF4-FFF2-40B4-BE49-F238E27FC236}">
                <a16:creationId xmlns:a16="http://schemas.microsoft.com/office/drawing/2014/main" id="{C2B3510F-8F2E-4932-AEA5-D29AEF5272A7}"/>
              </a:ext>
            </a:extLst>
          </p:cNvPr>
          <p:cNvSpPr>
            <a:spLocks noGrp="1"/>
          </p:cNvSpPr>
          <p:nvPr>
            <p:ph type="subTitle" idx="12"/>
          </p:nvPr>
        </p:nvSpPr>
        <p:spPr>
          <a:xfrm>
            <a:off x="719137" y="1266739"/>
            <a:ext cx="10752138" cy="278649"/>
          </a:xfrm>
        </p:spPr>
        <p:txBody>
          <a:bodyPr/>
          <a:lstStyle/>
          <a:p>
            <a:r>
              <a:rPr lang="fr-FR" sz="2000" dirty="0"/>
              <a:t>Article L. 611-7 2° Code de la propriété intellectuelle</a:t>
            </a:r>
            <a:endParaRPr lang="en-GB" sz="2000" dirty="0"/>
          </a:p>
        </p:txBody>
      </p:sp>
      <p:sp>
        <p:nvSpPr>
          <p:cNvPr id="12" name="Title 9">
            <a:extLst>
              <a:ext uri="{FF2B5EF4-FFF2-40B4-BE49-F238E27FC236}">
                <a16:creationId xmlns:a16="http://schemas.microsoft.com/office/drawing/2014/main" id="{29C45EF3-62F8-460D-9745-4186562F65A0}"/>
              </a:ext>
            </a:extLst>
          </p:cNvPr>
          <p:cNvSpPr>
            <a:spLocks noGrp="1"/>
          </p:cNvSpPr>
          <p:nvPr>
            <p:ph type="title"/>
          </p:nvPr>
        </p:nvSpPr>
        <p:spPr>
          <a:xfrm>
            <a:off x="719137" y="666745"/>
            <a:ext cx="10752137" cy="338238"/>
          </a:xfrm>
        </p:spPr>
        <p:txBody>
          <a:bodyPr/>
          <a:lstStyle/>
          <a:p>
            <a:r>
              <a:rPr lang="fr-FR" sz="3200" dirty="0"/>
              <a:t>Principe</a:t>
            </a:r>
            <a:endParaRPr lang="en-GB" sz="3200" dirty="0"/>
          </a:p>
        </p:txBody>
      </p:sp>
      <p:sp>
        <p:nvSpPr>
          <p:cNvPr id="13" name="Content Placeholder 7">
            <a:extLst>
              <a:ext uri="{FF2B5EF4-FFF2-40B4-BE49-F238E27FC236}">
                <a16:creationId xmlns:a16="http://schemas.microsoft.com/office/drawing/2014/main" id="{49967BBF-E33B-45DC-9248-FC084BAB7E75}"/>
              </a:ext>
            </a:extLst>
          </p:cNvPr>
          <p:cNvSpPr txBox="1">
            <a:spLocks/>
          </p:cNvSpPr>
          <p:nvPr/>
        </p:nvSpPr>
        <p:spPr>
          <a:xfrm>
            <a:off x="6943725" y="2359301"/>
            <a:ext cx="4876800" cy="4393924"/>
          </a:xfrm>
          <a:prstGeom prst="rect">
            <a:avLst/>
          </a:prstGeom>
        </p:spPr>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465750" marR="0" lvl="1" indent="-285750" algn="just" defTabSz="914377" rtl="0" eaLnBrk="1" fontAlgn="auto" latinLnBrk="0" hangingPunct="1">
              <a:lnSpc>
                <a:spcPct val="100000"/>
              </a:lnSpc>
              <a:spcBef>
                <a:spcPts val="800"/>
              </a:spcBef>
              <a:spcAft>
                <a:spcPts val="0"/>
              </a:spcAft>
              <a:buClr>
                <a:srgbClr val="005C82"/>
              </a:buClr>
              <a:buSzTx/>
              <a:buFont typeface="Wingdings" panose="05000000000000000000" pitchFamily="2" charset="2"/>
              <a:buChar char="Ø"/>
              <a:tabLst/>
              <a:defRPr/>
            </a:pPr>
            <a:r>
              <a:rPr kumimoji="0" lang="fr-FR" sz="1600" b="1" i="0" u="none" strike="noStrike" kern="1200" cap="none" spc="0" normalizeH="0" baseline="0" noProof="0" dirty="0">
                <a:ln>
                  <a:noFill/>
                </a:ln>
                <a:solidFill>
                  <a:srgbClr val="005C82"/>
                </a:solidFill>
                <a:effectLst/>
                <a:uLnTx/>
                <a:uFillTx/>
                <a:latin typeface="+mj-lt"/>
                <a:ea typeface="+mn-ea"/>
                <a:cs typeface="+mn-cs"/>
              </a:rPr>
              <a:t>L'invention hors mission non-attribuable</a:t>
            </a:r>
          </a:p>
          <a:p>
            <a:pPr marL="0" marR="0" lvl="0" indent="0" algn="just" defTabSz="914377"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323E48"/>
                </a:solidFill>
                <a:effectLst/>
                <a:uLnTx/>
                <a:uFillTx/>
                <a:latin typeface="+mj-lt"/>
                <a:ea typeface="+mn-ea"/>
                <a:cs typeface="+mn-cs"/>
              </a:rPr>
              <a:t>Lorsqu’une invention ne présente : </a:t>
            </a:r>
          </a:p>
          <a:p>
            <a:pPr marL="465750" marR="0" lvl="1" indent="-285750" algn="just" defTabSz="914377" rtl="0" eaLnBrk="1" fontAlgn="auto" latinLnBrk="0" hangingPunct="1">
              <a:lnSpc>
                <a:spcPct val="100000"/>
              </a:lnSpc>
              <a:spcBef>
                <a:spcPts val="800"/>
              </a:spcBef>
              <a:spcAft>
                <a:spcPts val="0"/>
              </a:spcAft>
              <a:buClr>
                <a:srgbClr val="005C82"/>
              </a:buClr>
              <a:buSzTx/>
              <a:buFont typeface="Arial" panose="020B0604020202020204" pitchFamily="34" charset="0"/>
              <a:buChar char="•"/>
              <a:tabLst/>
              <a:defRPr/>
            </a:pPr>
            <a:r>
              <a:rPr kumimoji="0" lang="fr-FR" sz="1400" b="1" i="0" u="none" strike="noStrike" kern="1200" cap="none" spc="0" normalizeH="0" baseline="0" noProof="0" dirty="0">
                <a:ln>
                  <a:noFill/>
                </a:ln>
                <a:solidFill>
                  <a:srgbClr val="323E48"/>
                </a:solidFill>
                <a:effectLst/>
                <a:uLnTx/>
                <a:uFillTx/>
                <a:latin typeface="+mj-lt"/>
                <a:ea typeface="+mn-ea"/>
                <a:cs typeface="+mn-cs"/>
              </a:rPr>
              <a:t>aucun lien avec l’activité de l’entreprise considérée</a:t>
            </a:r>
          </a:p>
          <a:p>
            <a:pPr marL="465750" marR="0" lvl="1" indent="-285750" algn="just" defTabSz="914377" rtl="0" eaLnBrk="1" fontAlgn="auto" latinLnBrk="0" hangingPunct="1">
              <a:lnSpc>
                <a:spcPct val="100000"/>
              </a:lnSpc>
              <a:spcBef>
                <a:spcPts val="800"/>
              </a:spcBef>
              <a:spcAft>
                <a:spcPts val="0"/>
              </a:spcAft>
              <a:buClr>
                <a:srgbClr val="005C82"/>
              </a:buClr>
              <a:buSzTx/>
              <a:buFont typeface="Arial" panose="020B0604020202020204" pitchFamily="34" charset="0"/>
              <a:buChar char="•"/>
              <a:tabLst/>
              <a:defRPr/>
            </a:pPr>
            <a:r>
              <a:rPr kumimoji="0" lang="fr-FR" sz="1400" b="1" i="0" u="none" strike="noStrike" kern="1200" cap="none" spc="0" normalizeH="0" baseline="0" noProof="0" dirty="0">
                <a:ln>
                  <a:noFill/>
                </a:ln>
                <a:solidFill>
                  <a:srgbClr val="323E48"/>
                </a:solidFill>
                <a:effectLst/>
                <a:uLnTx/>
                <a:uFillTx/>
                <a:latin typeface="+mj-lt"/>
                <a:ea typeface="+mn-ea"/>
                <a:cs typeface="+mn-cs"/>
              </a:rPr>
              <a:t>qu’elle a été réalisée grâce aux moyens propres à l’inventeur</a:t>
            </a:r>
          </a:p>
          <a:p>
            <a:pPr marL="465750" marR="0" lvl="1" indent="-285750" algn="just" defTabSz="914377" rtl="0" eaLnBrk="1" fontAlgn="auto" latinLnBrk="0" hangingPunct="1">
              <a:lnSpc>
                <a:spcPct val="100000"/>
              </a:lnSpc>
              <a:spcBef>
                <a:spcPts val="800"/>
              </a:spcBef>
              <a:spcAft>
                <a:spcPts val="0"/>
              </a:spcAft>
              <a:buClr>
                <a:srgbClr val="005C82"/>
              </a:buClr>
              <a:buSzTx/>
              <a:buFont typeface="Arial" panose="020B0604020202020204" pitchFamily="34" charset="0"/>
              <a:buChar char="•"/>
              <a:tabLst/>
              <a:defRPr/>
            </a:pPr>
            <a:r>
              <a:rPr kumimoji="0" lang="fr-FR" sz="1400" b="0" i="0" u="none" strike="noStrike" kern="1200" cap="none" spc="0" normalizeH="0" baseline="0" noProof="0" dirty="0">
                <a:ln>
                  <a:noFill/>
                </a:ln>
                <a:solidFill>
                  <a:srgbClr val="323E48"/>
                </a:solidFill>
                <a:effectLst/>
                <a:uLnTx/>
                <a:uFillTx/>
                <a:latin typeface="+mj-lt"/>
                <a:ea typeface="+mn-ea"/>
                <a:cs typeface="+mn-cs"/>
              </a:rPr>
              <a:t>à qui </a:t>
            </a:r>
            <a:r>
              <a:rPr kumimoji="0" lang="fr-FR" sz="1400" b="1" i="0" u="none" strike="noStrike" kern="1200" cap="none" spc="0" normalizeH="0" baseline="0" noProof="0" dirty="0">
                <a:ln>
                  <a:noFill/>
                </a:ln>
                <a:solidFill>
                  <a:srgbClr val="323E48"/>
                </a:solidFill>
                <a:effectLst/>
                <a:uLnTx/>
                <a:uFillTx/>
                <a:latin typeface="+mj-lt"/>
                <a:ea typeface="+mn-ea"/>
                <a:cs typeface="+mn-cs"/>
              </a:rPr>
              <a:t>aucune fonction inventive n’a été confiée par l’entreprise</a:t>
            </a:r>
          </a:p>
          <a:p>
            <a:pPr marL="0" marR="0" lvl="0" indent="0" algn="just" defTabSz="914377"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323E48"/>
                </a:solidFill>
                <a:effectLst/>
                <a:uLnTx/>
                <a:uFillTx/>
                <a:latin typeface="+mj-lt"/>
                <a:ea typeface="+mn-ea"/>
                <a:cs typeface="+mn-cs"/>
              </a:rPr>
              <a:t>L'inventeur, bien que salarié, </a:t>
            </a:r>
            <a:r>
              <a:rPr kumimoji="0" lang="fr-FR" sz="1400" b="1" i="0" u="none" strike="noStrike" kern="1200" cap="none" spc="0" normalizeH="0" baseline="0" noProof="0" dirty="0">
                <a:ln>
                  <a:noFill/>
                </a:ln>
                <a:solidFill>
                  <a:srgbClr val="323E48"/>
                </a:solidFill>
                <a:effectLst/>
                <a:uLnTx/>
                <a:uFillTx/>
                <a:latin typeface="+mj-lt"/>
                <a:ea typeface="+mn-ea"/>
                <a:cs typeface="+mn-cs"/>
              </a:rPr>
              <a:t>a la pleine jouissance de son invention.</a:t>
            </a:r>
            <a:endParaRPr kumimoji="0" lang="en-GB" sz="1400" b="1" i="0" u="none" strike="noStrike" kern="1200" cap="none" spc="0" normalizeH="0" baseline="0" noProof="0" dirty="0">
              <a:ln>
                <a:noFill/>
              </a:ln>
              <a:solidFill>
                <a:srgbClr val="323E48"/>
              </a:solidFill>
              <a:effectLst/>
              <a:uLnTx/>
              <a:uFillTx/>
              <a:latin typeface="+mj-lt"/>
              <a:ea typeface="+mn-ea"/>
              <a:cs typeface="+mn-cs"/>
            </a:endParaRPr>
          </a:p>
          <a:p>
            <a:pPr marL="285750" indent="-285750" algn="just">
              <a:lnSpc>
                <a:spcPct val="100000"/>
              </a:lnSpc>
              <a:buFontTx/>
              <a:buChar char="-"/>
            </a:pPr>
            <a:endParaRPr lang="en-GB" sz="1400" dirty="0">
              <a:latin typeface="+mj-lt"/>
            </a:endParaRPr>
          </a:p>
        </p:txBody>
      </p:sp>
      <p:sp>
        <p:nvSpPr>
          <p:cNvPr id="9" name="Footer Placeholder 3">
            <a:extLst>
              <a:ext uri="{FF2B5EF4-FFF2-40B4-BE49-F238E27FC236}">
                <a16:creationId xmlns:a16="http://schemas.microsoft.com/office/drawing/2014/main" id="{402B182F-D0C5-4353-A252-9F9051F37624}"/>
              </a:ext>
            </a:extLst>
          </p:cNvPr>
          <p:cNvSpPr>
            <a:spLocks noGrp="1"/>
          </p:cNvSpPr>
          <p:nvPr>
            <p:ph type="ftr" sz="quarter" idx="11"/>
          </p:nvPr>
        </p:nvSpPr>
        <p:spPr>
          <a:xfrm>
            <a:off x="7096125" y="6393422"/>
            <a:ext cx="4058158" cy="144000"/>
          </a:xfrm>
        </p:spPr>
        <p:txBody>
          <a:bodyPr/>
          <a:lstStyle/>
          <a:p>
            <a:r>
              <a:rPr lang="fr-FR" sz="800" dirty="0"/>
              <a:t>LIFE SCIENCES - Conférence Annuelle – 07 juin 2022</a:t>
            </a:r>
            <a:endParaRPr lang="en-GB" dirty="0"/>
          </a:p>
        </p:txBody>
      </p:sp>
    </p:spTree>
    <p:extLst>
      <p:ext uri="{BB962C8B-B14F-4D97-AF65-F5344CB8AC3E}">
        <p14:creationId xmlns:p14="http://schemas.microsoft.com/office/powerpoint/2010/main" val="2410627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CF4CBDC-3647-4C99-B592-2F6AC356E688}"/>
              </a:ext>
            </a:extLst>
          </p:cNvPr>
          <p:cNvSpPr>
            <a:spLocks noGrp="1"/>
          </p:cNvSpPr>
          <p:nvPr>
            <p:ph type="ftr" sz="quarter" idx="11"/>
          </p:nvPr>
        </p:nvSpPr>
        <p:spPr/>
        <p:txBody>
          <a:bodyPr/>
          <a:lstStyle/>
          <a:p>
            <a:r>
              <a:rPr lang="fr-FR" sz="800" dirty="0"/>
              <a:t>LIFE SCIENCES - Conférence Annuelle – 07 juin 2022</a:t>
            </a:r>
            <a:endParaRPr lang="en-GB" dirty="0"/>
          </a:p>
        </p:txBody>
      </p:sp>
      <p:sp>
        <p:nvSpPr>
          <p:cNvPr id="5" name="Content Placeholder 4">
            <a:extLst>
              <a:ext uri="{FF2B5EF4-FFF2-40B4-BE49-F238E27FC236}">
                <a16:creationId xmlns:a16="http://schemas.microsoft.com/office/drawing/2014/main" id="{2C7736C2-CBAA-4875-A3F8-783899305995}"/>
              </a:ext>
            </a:extLst>
          </p:cNvPr>
          <p:cNvSpPr>
            <a:spLocks noGrp="1"/>
          </p:cNvSpPr>
          <p:nvPr>
            <p:ph idx="1"/>
          </p:nvPr>
        </p:nvSpPr>
        <p:spPr>
          <a:xfrm>
            <a:off x="719136" y="1881051"/>
            <a:ext cx="10654257" cy="4012433"/>
          </a:xfrm>
        </p:spPr>
        <p:txBody>
          <a:bodyPr/>
          <a:lstStyle/>
          <a:p>
            <a:pPr lvl="1" algn="just"/>
            <a:r>
              <a:rPr lang="fr-FR" dirty="0">
                <a:latin typeface="+mj-lt"/>
              </a:rPr>
              <a:t>Action en </a:t>
            </a:r>
            <a:r>
              <a:rPr lang="fr-FR" b="1" dirty="0">
                <a:latin typeface="+mj-lt"/>
              </a:rPr>
              <a:t>revendication de propriété</a:t>
            </a:r>
            <a:r>
              <a:rPr lang="fr-FR" dirty="0">
                <a:latin typeface="+mj-lt"/>
              </a:rPr>
              <a:t> d'une invention par le CNRS contre l'un de ses </a:t>
            </a:r>
            <a:r>
              <a:rPr lang="fr-FR" b="1" dirty="0">
                <a:latin typeface="+mj-lt"/>
              </a:rPr>
              <a:t>stagiaires, M. Puech</a:t>
            </a:r>
            <a:r>
              <a:rPr lang="fr-FR" dirty="0">
                <a:latin typeface="+mj-lt"/>
              </a:rPr>
              <a:t>.</a:t>
            </a:r>
          </a:p>
          <a:p>
            <a:pPr lvl="2" algn="just"/>
            <a:endParaRPr lang="fr-FR" dirty="0">
              <a:latin typeface="+mj-lt"/>
              <a:sym typeface="Wingdings" panose="05000000000000000000" pitchFamily="2" charset="2"/>
            </a:endParaRPr>
          </a:p>
          <a:p>
            <a:pPr lvl="1" algn="just"/>
            <a:r>
              <a:rPr lang="fr-FR" b="1" dirty="0">
                <a:latin typeface="+mj-lt"/>
              </a:rPr>
              <a:t>L'arrêt : </a:t>
            </a:r>
          </a:p>
          <a:p>
            <a:pPr marL="465750" lvl="1" indent="-285750" algn="just">
              <a:buFont typeface="Wingdings" panose="05000000000000000000" pitchFamily="2" charset="2"/>
              <a:buChar char="Ø"/>
            </a:pPr>
            <a:r>
              <a:rPr lang="fr-FR" dirty="0">
                <a:latin typeface="+mj-lt"/>
              </a:rPr>
              <a:t>Le règlement intérieur du CNRS réputé entaché </a:t>
            </a:r>
            <a:r>
              <a:rPr lang="fr-FR" b="1" dirty="0">
                <a:latin typeface="+mj-lt"/>
              </a:rPr>
              <a:t>d'illégalité,</a:t>
            </a:r>
          </a:p>
          <a:p>
            <a:pPr marL="465750" lvl="1" indent="-285750" algn="just">
              <a:buFont typeface="Wingdings" panose="05000000000000000000" pitchFamily="2" charset="2"/>
              <a:buChar char="Ø"/>
            </a:pPr>
            <a:r>
              <a:rPr lang="fr-FR" dirty="0">
                <a:latin typeface="+mj-lt"/>
              </a:rPr>
              <a:t>Le stagiaire d'un organisme public n'est pas </a:t>
            </a:r>
            <a:r>
              <a:rPr lang="fr-FR" b="1" dirty="0">
                <a:latin typeface="+mj-lt"/>
              </a:rPr>
              <a:t>salarié et ne dépend pas des dispositions de L. 611-7 CPI</a:t>
            </a:r>
          </a:p>
          <a:p>
            <a:pPr marL="465750" lvl="1" indent="-285750" algn="just">
              <a:buFont typeface="Wingdings" panose="05000000000000000000" pitchFamily="2" charset="2"/>
              <a:buChar char="Ø"/>
            </a:pPr>
            <a:r>
              <a:rPr lang="fr-FR" dirty="0">
                <a:latin typeface="+mj-lt"/>
              </a:rPr>
              <a:t>Il dépend du régime général de l'article </a:t>
            </a:r>
            <a:r>
              <a:rPr lang="fr-FR" b="1" dirty="0">
                <a:latin typeface="+mj-lt"/>
              </a:rPr>
              <a:t>L. 611-6 CPI</a:t>
            </a:r>
            <a:endParaRPr lang="fr-FR" dirty="0">
              <a:latin typeface="+mj-lt"/>
            </a:endParaRPr>
          </a:p>
          <a:p>
            <a:pPr marL="285750" indent="-285750" algn="just">
              <a:buFont typeface="Wingdings" panose="05000000000000000000" pitchFamily="2" charset="2"/>
              <a:buChar char="Ø"/>
            </a:pPr>
            <a:endParaRPr lang="fr-FR" dirty="0">
              <a:latin typeface="+mj-lt"/>
            </a:endParaRPr>
          </a:p>
          <a:p>
            <a:pPr lvl="2" algn="just"/>
            <a:r>
              <a:rPr lang="fr-FR" dirty="0">
                <a:latin typeface="+mj-lt"/>
              </a:rPr>
              <a:t>le droit au titre de propriété industrielle </a:t>
            </a:r>
            <a:r>
              <a:rPr lang="fr-FR" b="1" dirty="0">
                <a:latin typeface="+mj-lt"/>
              </a:rPr>
              <a:t>appartient à l’inventeur</a:t>
            </a:r>
            <a:r>
              <a:rPr lang="fr-FR" dirty="0">
                <a:latin typeface="+mj-lt"/>
              </a:rPr>
              <a:t>, et </a:t>
            </a:r>
            <a:r>
              <a:rPr lang="fr-FR" b="1" dirty="0">
                <a:latin typeface="+mj-lt"/>
              </a:rPr>
              <a:t>les exceptions à ce principe ne résultent que de la loi</a:t>
            </a:r>
            <a:r>
              <a:rPr lang="fr-FR" dirty="0">
                <a:latin typeface="+mj-lt"/>
              </a:rPr>
              <a:t> ;</a:t>
            </a:r>
          </a:p>
          <a:p>
            <a:pPr lvl="2" algn="just"/>
            <a:r>
              <a:rPr lang="fr-FR" dirty="0">
                <a:latin typeface="+mj-lt"/>
                <a:sym typeface="Wingdings" panose="05000000000000000000" pitchFamily="2" charset="2"/>
              </a:rPr>
              <a:t>M. Puech n'était </a:t>
            </a:r>
            <a:r>
              <a:rPr lang="fr-FR" b="1" dirty="0">
                <a:latin typeface="+mj-lt"/>
                <a:sym typeface="Wingdings" panose="05000000000000000000" pitchFamily="2" charset="2"/>
              </a:rPr>
              <a:t>ni salarié du CNRS, ni agent public,</a:t>
            </a:r>
          </a:p>
          <a:p>
            <a:pPr lvl="2" algn="just"/>
            <a:r>
              <a:rPr lang="fr-FR" dirty="0">
                <a:latin typeface="+mj-lt"/>
                <a:sym typeface="Wingdings" panose="05000000000000000000" pitchFamily="2" charset="2"/>
              </a:rPr>
              <a:t>la propriété de son invention ne relevait d'aucune des exceptions limitativement prévues par la loi</a:t>
            </a:r>
          </a:p>
          <a:p>
            <a:pPr lvl="2" algn="just"/>
            <a:r>
              <a:rPr lang="fr-FR" dirty="0">
                <a:latin typeface="+mj-lt"/>
                <a:sym typeface="Wingdings" panose="05000000000000000000" pitchFamily="2" charset="2"/>
              </a:rPr>
              <a:t>Il convient de signer un </a:t>
            </a:r>
            <a:r>
              <a:rPr lang="fr-FR" b="1" dirty="0">
                <a:latin typeface="+mj-lt"/>
                <a:sym typeface="Wingdings" panose="05000000000000000000" pitchFamily="2" charset="2"/>
              </a:rPr>
              <a:t>contrat de cession des droits de PI</a:t>
            </a:r>
            <a:r>
              <a:rPr lang="fr-FR" dirty="0">
                <a:latin typeface="+mj-lt"/>
                <a:sym typeface="Wingdings" panose="05000000000000000000" pitchFamily="2" charset="2"/>
              </a:rPr>
              <a:t> pour garantir le transfert de ces droits à l'organisme d'accueil. </a:t>
            </a:r>
            <a:endParaRPr lang="fr-FR" dirty="0">
              <a:latin typeface="+mj-lt"/>
            </a:endParaRPr>
          </a:p>
          <a:p>
            <a:pPr lvl="2" algn="just"/>
            <a:endParaRPr lang="fr-FR" dirty="0">
              <a:latin typeface="+mj-lt"/>
              <a:sym typeface="Wingdings" panose="05000000000000000000" pitchFamily="2" charset="2"/>
            </a:endParaRPr>
          </a:p>
          <a:p>
            <a:pPr marL="285750" indent="-285750" algn="just">
              <a:buFont typeface="Wingdings" panose="05000000000000000000" pitchFamily="2" charset="2"/>
              <a:buChar char="Ø"/>
            </a:pPr>
            <a:endParaRPr lang="en-GB" dirty="0">
              <a:latin typeface="+mj-lt"/>
            </a:endParaRPr>
          </a:p>
        </p:txBody>
      </p:sp>
      <p:sp>
        <p:nvSpPr>
          <p:cNvPr id="6" name="Subtitle 5">
            <a:extLst>
              <a:ext uri="{FF2B5EF4-FFF2-40B4-BE49-F238E27FC236}">
                <a16:creationId xmlns:a16="http://schemas.microsoft.com/office/drawing/2014/main" id="{74BCE30C-42BE-4E57-B9BA-5818ECED0372}"/>
              </a:ext>
            </a:extLst>
          </p:cNvPr>
          <p:cNvSpPr>
            <a:spLocks noGrp="1"/>
          </p:cNvSpPr>
          <p:nvPr>
            <p:ph type="subTitle" idx="12"/>
          </p:nvPr>
        </p:nvSpPr>
        <p:spPr>
          <a:xfrm>
            <a:off x="719137" y="1266739"/>
            <a:ext cx="9110663" cy="377790"/>
          </a:xfrm>
        </p:spPr>
        <p:txBody>
          <a:bodyPr/>
          <a:lstStyle/>
          <a:p>
            <a:r>
              <a:rPr lang="pt-BR" sz="2000" dirty="0"/>
              <a:t>Cass. com., 25 avril 2006, n° 04-19.482</a:t>
            </a:r>
            <a:endParaRPr lang="en-GB" sz="2000" dirty="0"/>
          </a:p>
        </p:txBody>
      </p:sp>
      <p:sp>
        <p:nvSpPr>
          <p:cNvPr id="7" name="Title 6">
            <a:extLst>
              <a:ext uri="{FF2B5EF4-FFF2-40B4-BE49-F238E27FC236}">
                <a16:creationId xmlns:a16="http://schemas.microsoft.com/office/drawing/2014/main" id="{EE8DC4A9-B0D7-4763-8476-7C8E2EF4ABC6}"/>
              </a:ext>
            </a:extLst>
          </p:cNvPr>
          <p:cNvSpPr>
            <a:spLocks noGrp="1"/>
          </p:cNvSpPr>
          <p:nvPr>
            <p:ph type="title"/>
          </p:nvPr>
        </p:nvSpPr>
        <p:spPr>
          <a:xfrm>
            <a:off x="719137" y="666745"/>
            <a:ext cx="9110663" cy="535038"/>
          </a:xfrm>
        </p:spPr>
        <p:txBody>
          <a:bodyPr/>
          <a:lstStyle/>
          <a:p>
            <a:r>
              <a:rPr lang="fr-FR" sz="3200" dirty="0"/>
              <a:t>Affaire Puech contre CNRS</a:t>
            </a:r>
            <a:endParaRPr lang="en-GB" sz="3200" dirty="0"/>
          </a:p>
        </p:txBody>
      </p:sp>
    </p:spTree>
    <p:extLst>
      <p:ext uri="{BB962C8B-B14F-4D97-AF65-F5344CB8AC3E}">
        <p14:creationId xmlns:p14="http://schemas.microsoft.com/office/powerpoint/2010/main" val="2365050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E310412-8B2D-404E-8687-BBDC68F1C5F5}"/>
              </a:ext>
            </a:extLst>
          </p:cNvPr>
          <p:cNvSpPr>
            <a:spLocks noGrp="1"/>
          </p:cNvSpPr>
          <p:nvPr>
            <p:ph type="ftr" sz="quarter" idx="11"/>
          </p:nvPr>
        </p:nvSpPr>
        <p:spPr/>
        <p:txBody>
          <a:bodyPr/>
          <a:lstStyle/>
          <a:p>
            <a:r>
              <a:rPr lang="fr-FR" sz="800" dirty="0"/>
              <a:t>LIFE SCIENCES - Conférence Annuelle – 07 juin 2022</a:t>
            </a:r>
            <a:endParaRPr lang="en-GB" dirty="0"/>
          </a:p>
        </p:txBody>
      </p:sp>
      <p:sp>
        <p:nvSpPr>
          <p:cNvPr id="31" name="Content Placeholder 30">
            <a:extLst>
              <a:ext uri="{FF2B5EF4-FFF2-40B4-BE49-F238E27FC236}">
                <a16:creationId xmlns:a16="http://schemas.microsoft.com/office/drawing/2014/main" id="{D6BA5198-641A-4801-9DDA-998122F3F973}"/>
              </a:ext>
            </a:extLst>
          </p:cNvPr>
          <p:cNvSpPr>
            <a:spLocks noGrp="1"/>
          </p:cNvSpPr>
          <p:nvPr>
            <p:ph idx="1"/>
          </p:nvPr>
        </p:nvSpPr>
        <p:spPr/>
        <p:txBody>
          <a:bodyPr/>
          <a:lstStyle/>
          <a:p>
            <a:pPr algn="just"/>
            <a:r>
              <a:rPr lang="fr-FR" sz="1600" dirty="0">
                <a:solidFill>
                  <a:srgbClr val="323E48"/>
                </a:solidFill>
                <a:latin typeface="+mj-lt"/>
              </a:rPr>
              <a:t>"</a:t>
            </a:r>
            <a:r>
              <a:rPr lang="fr-FR" sz="1600" i="1" dirty="0">
                <a:solidFill>
                  <a:srgbClr val="323E48"/>
                </a:solidFill>
                <a:latin typeface="+mj-lt"/>
              </a:rPr>
              <a:t>Lorsque l'inventeur est une personne physique qui ne relève pas de l'article L. 611-7 et qui est accueillie dans le cadre d'une convention par une personne morale de droit public ou de droit privé réalisant de la recherche, le droit au titre de propriété industrielle portant sur l'invention réalisée par cet inventeur est, à défaut de stipulation plus favorable à ce dernier, défini selon les dispositions ci-après</a:t>
            </a:r>
            <a:r>
              <a:rPr lang="fr-FR" sz="1600" dirty="0">
                <a:solidFill>
                  <a:srgbClr val="323E48"/>
                </a:solidFill>
                <a:latin typeface="+mj-lt"/>
              </a:rPr>
              <a:t>"</a:t>
            </a:r>
          </a:p>
          <a:p>
            <a:endParaRPr lang="fr-FR" sz="1600" dirty="0">
              <a:solidFill>
                <a:srgbClr val="323E48"/>
              </a:solidFill>
              <a:latin typeface="+mj-lt"/>
            </a:endParaRPr>
          </a:p>
          <a:p>
            <a:pPr lvl="1"/>
            <a:r>
              <a:rPr lang="fr-FR" dirty="0">
                <a:solidFill>
                  <a:srgbClr val="323E48"/>
                </a:solidFill>
                <a:latin typeface="+mj-lt"/>
              </a:rPr>
              <a:t>Conditions de L. 611-7 CPI</a:t>
            </a:r>
          </a:p>
          <a:p>
            <a:pPr lvl="2"/>
            <a:r>
              <a:rPr lang="fr-FR" dirty="0">
                <a:solidFill>
                  <a:srgbClr val="323E48"/>
                </a:solidFill>
                <a:latin typeface="+mj-lt"/>
              </a:rPr>
              <a:t>Invention de mission</a:t>
            </a:r>
          </a:p>
          <a:p>
            <a:pPr lvl="2"/>
            <a:r>
              <a:rPr lang="fr-FR" dirty="0">
                <a:solidFill>
                  <a:srgbClr val="323E48"/>
                </a:solidFill>
                <a:latin typeface="+mj-lt"/>
              </a:rPr>
              <a:t>Invention hors mission</a:t>
            </a:r>
          </a:p>
          <a:p>
            <a:pPr lvl="3"/>
            <a:r>
              <a:rPr lang="fr-FR" dirty="0">
                <a:solidFill>
                  <a:srgbClr val="323E48"/>
                </a:solidFill>
                <a:latin typeface="+mj-lt"/>
              </a:rPr>
              <a:t>attribuable </a:t>
            </a:r>
          </a:p>
          <a:p>
            <a:pPr lvl="3"/>
            <a:r>
              <a:rPr lang="fr-FR" dirty="0">
                <a:solidFill>
                  <a:srgbClr val="323E48"/>
                </a:solidFill>
                <a:latin typeface="+mj-lt"/>
              </a:rPr>
              <a:t>non attribuable</a:t>
            </a:r>
            <a:br>
              <a:rPr lang="fr-FR" dirty="0">
                <a:solidFill>
                  <a:srgbClr val="323E48"/>
                </a:solidFill>
                <a:latin typeface="+mj-lt"/>
              </a:rPr>
            </a:br>
            <a:endParaRPr lang="fr-FR" dirty="0"/>
          </a:p>
        </p:txBody>
      </p:sp>
      <p:sp>
        <p:nvSpPr>
          <p:cNvPr id="32" name="Subtitle 31">
            <a:extLst>
              <a:ext uri="{FF2B5EF4-FFF2-40B4-BE49-F238E27FC236}">
                <a16:creationId xmlns:a16="http://schemas.microsoft.com/office/drawing/2014/main" id="{5DA0B7D8-14E0-4A04-9A02-4E903964566F}"/>
              </a:ext>
            </a:extLst>
          </p:cNvPr>
          <p:cNvSpPr>
            <a:spLocks noGrp="1"/>
          </p:cNvSpPr>
          <p:nvPr>
            <p:ph type="subTitle" idx="12"/>
          </p:nvPr>
        </p:nvSpPr>
        <p:spPr/>
        <p:txBody>
          <a:bodyPr/>
          <a:lstStyle/>
          <a:p>
            <a:r>
              <a:rPr lang="fr-FR" sz="2400" dirty="0"/>
              <a:t>Ordonnance n° 2021-1658 du 15 décembre 2021</a:t>
            </a:r>
            <a:endParaRPr lang="fr-FR" dirty="0"/>
          </a:p>
        </p:txBody>
      </p:sp>
      <p:sp>
        <p:nvSpPr>
          <p:cNvPr id="21" name="Title 4">
            <a:extLst>
              <a:ext uri="{FF2B5EF4-FFF2-40B4-BE49-F238E27FC236}">
                <a16:creationId xmlns:a16="http://schemas.microsoft.com/office/drawing/2014/main" id="{91B5585E-1688-42F7-B194-B80529C531C8}"/>
              </a:ext>
            </a:extLst>
          </p:cNvPr>
          <p:cNvSpPr>
            <a:spLocks noGrp="1"/>
          </p:cNvSpPr>
          <p:nvPr>
            <p:ph type="title"/>
          </p:nvPr>
        </p:nvSpPr>
        <p:spPr/>
        <p:txBody>
          <a:bodyPr/>
          <a:lstStyle/>
          <a:p>
            <a:r>
              <a:rPr lang="fr-FR" sz="3200" dirty="0"/>
              <a:t>L. 611-7-1 CPI</a:t>
            </a:r>
          </a:p>
        </p:txBody>
      </p:sp>
      <p:sp>
        <p:nvSpPr>
          <p:cNvPr id="7" name="Content Placeholder 3">
            <a:extLst>
              <a:ext uri="{FF2B5EF4-FFF2-40B4-BE49-F238E27FC236}">
                <a16:creationId xmlns:a16="http://schemas.microsoft.com/office/drawing/2014/main" id="{E1EA18ED-FADC-4109-A9A3-4C0193971892}"/>
              </a:ext>
            </a:extLst>
          </p:cNvPr>
          <p:cNvSpPr txBox="1">
            <a:spLocks/>
          </p:cNvSpPr>
          <p:nvPr/>
        </p:nvSpPr>
        <p:spPr>
          <a:xfrm>
            <a:off x="8040688" y="2622733"/>
            <a:ext cx="5286375" cy="4363401"/>
          </a:xfrm>
          <a:prstGeom prst="rect">
            <a:avLst/>
          </a:prstGeom>
        </p:spPr>
        <p:txBody>
          <a:bodyPr vert="horz" lIns="0" tIns="0" rIns="0" bIns="0" rtlCol="0">
            <a:normAutofit/>
          </a:bodyPr>
          <a:lstStyle>
            <a:lvl1pPr marL="0" indent="0" algn="l" defTabSz="914377" rtl="0" eaLnBrk="1" latinLnBrk="0" hangingPunct="1">
              <a:lnSpc>
                <a:spcPct val="95000"/>
              </a:lnSpc>
              <a:spcBef>
                <a:spcPts val="800"/>
              </a:spcBef>
              <a:buFont typeface="Arial" panose="020B0604020202020204" pitchFamily="34" charset="0"/>
              <a:buNone/>
              <a:defRPr sz="3600" kern="1200">
                <a:solidFill>
                  <a:schemeClr val="tx1"/>
                </a:solidFill>
                <a:latin typeface="+mj-lt"/>
                <a:ea typeface="+mn-ea"/>
                <a:cs typeface="+mn-cs"/>
              </a:defRPr>
            </a:lvl1pPr>
            <a:lvl2pPr marL="0" indent="0" algn="l" defTabSz="914377" rtl="0" eaLnBrk="1" latinLnBrk="0" hangingPunct="1">
              <a:lnSpc>
                <a:spcPct val="95000"/>
              </a:lnSpc>
              <a:spcBef>
                <a:spcPts val="1800"/>
              </a:spcBef>
              <a:buClr>
                <a:schemeClr val="tx2"/>
              </a:buClr>
              <a:buFont typeface="Symbol" panose="05050102010706020507" pitchFamily="18" charset="2"/>
              <a:buNone/>
              <a:defRPr sz="1600" i="1" kern="1200">
                <a:solidFill>
                  <a:schemeClr val="tx1"/>
                </a:solidFill>
                <a:latin typeface="+mj-lt"/>
                <a:ea typeface="+mn-ea"/>
                <a:cs typeface="+mn-cs"/>
              </a:defRPr>
            </a:lvl2pPr>
            <a:lvl3pPr marL="0" indent="0" algn="l" defTabSz="914377" rtl="0" eaLnBrk="1" latinLnBrk="0" hangingPunct="1">
              <a:lnSpc>
                <a:spcPct val="95000"/>
              </a:lnSpc>
              <a:spcBef>
                <a:spcPts val="800"/>
              </a:spcBef>
              <a:buClr>
                <a:schemeClr val="tx2"/>
              </a:buClr>
              <a:buFont typeface="Arial" panose="020B0604020202020204" pitchFamily="34" charset="0"/>
              <a:buNone/>
              <a:defRPr sz="1000" kern="1200">
                <a:solidFill>
                  <a:schemeClr val="tx1"/>
                </a:solidFill>
                <a:latin typeface="+mn-lt"/>
                <a:ea typeface="+mn-ea"/>
                <a:cs typeface="+mn-cs"/>
              </a:defRPr>
            </a:lvl3pPr>
            <a:lvl4pPr marL="0" indent="0" algn="l" defTabSz="914377" rtl="0" eaLnBrk="1" latinLnBrk="0" hangingPunct="1">
              <a:lnSpc>
                <a:spcPct val="95000"/>
              </a:lnSpc>
              <a:spcBef>
                <a:spcPts val="800"/>
              </a:spcBef>
              <a:buClr>
                <a:schemeClr val="tx2"/>
              </a:buClr>
              <a:buFont typeface="Arial" panose="020B0604020202020204" pitchFamily="34" charset="0"/>
              <a:buNone/>
              <a:defRPr sz="2800" kern="1200">
                <a:solidFill>
                  <a:schemeClr val="tx1"/>
                </a:solidFill>
                <a:latin typeface="+mj-lt"/>
                <a:ea typeface="+mn-ea"/>
                <a:cs typeface="+mn-cs"/>
              </a:defRPr>
            </a:lvl4pPr>
            <a:lvl5pPr marL="0" indent="0" algn="l" defTabSz="914377" rtl="0" eaLnBrk="1" latinLnBrk="0" hangingPunct="1">
              <a:lnSpc>
                <a:spcPct val="95000"/>
              </a:lnSpc>
              <a:spcBef>
                <a:spcPts val="800"/>
              </a:spcBef>
              <a:buClr>
                <a:schemeClr val="tx2"/>
              </a:buClr>
              <a:buFont typeface="Arial" panose="020B0604020202020204" pitchFamily="34" charset="0"/>
              <a:buNone/>
              <a:defRPr sz="2400" kern="1200">
                <a:solidFill>
                  <a:schemeClr val="tx1"/>
                </a:solidFill>
                <a:latin typeface="+mj-lt"/>
                <a:ea typeface="+mn-ea"/>
                <a:cs typeface="+mn-cs"/>
              </a:defRPr>
            </a:lvl5pPr>
            <a:lvl6pPr marL="0" indent="0" algn="l" defTabSz="914377" rtl="0" eaLnBrk="1" latinLnBrk="0" hangingPunct="1">
              <a:lnSpc>
                <a:spcPct val="95000"/>
              </a:lnSpc>
              <a:spcBef>
                <a:spcPts val="800"/>
              </a:spcBef>
              <a:buClr>
                <a:schemeClr val="tx2"/>
              </a:buClr>
              <a:buFont typeface="Arial" panose="020B0604020202020204" pitchFamily="34" charset="0"/>
              <a:buNone/>
              <a:defRPr sz="2000" kern="1200">
                <a:solidFill>
                  <a:schemeClr val="tx1"/>
                </a:solidFill>
                <a:latin typeface="+mj-lt"/>
                <a:ea typeface="+mn-ea"/>
                <a:cs typeface="+mn-cs"/>
              </a:defRPr>
            </a:lvl6pPr>
            <a:lvl7pPr marL="0" indent="0" algn="l" defTabSz="914377" rtl="0" eaLnBrk="1" latinLnBrk="0" hangingPunct="1">
              <a:lnSpc>
                <a:spcPct val="95000"/>
              </a:lnSpc>
              <a:spcBef>
                <a:spcPts val="800"/>
              </a:spcBef>
              <a:buFontTx/>
              <a:buNone/>
              <a:defRPr sz="2000" kern="1200">
                <a:solidFill>
                  <a:schemeClr val="tx1"/>
                </a:solidFill>
                <a:latin typeface="+mj-lt"/>
                <a:ea typeface="+mn-ea"/>
                <a:cs typeface="+mn-cs"/>
              </a:defRPr>
            </a:lvl7pPr>
            <a:lvl8pPr marL="0" indent="0" algn="l" defTabSz="914377" rtl="0" eaLnBrk="1" latinLnBrk="0" hangingPunct="1">
              <a:lnSpc>
                <a:spcPct val="95000"/>
              </a:lnSpc>
              <a:spcBef>
                <a:spcPts val="800"/>
              </a:spcBef>
              <a:buFont typeface="Arial" panose="020B0604020202020204" pitchFamily="34" charset="0"/>
              <a:buNone/>
              <a:defRPr lang="en-GB" sz="1800" kern="1200" dirty="0" smtClean="0">
                <a:solidFill>
                  <a:schemeClr val="tx1"/>
                </a:solidFill>
                <a:latin typeface="+mj-lt"/>
                <a:ea typeface="+mn-ea"/>
                <a:cs typeface="+mn-cs"/>
              </a:defRPr>
            </a:lvl8pPr>
            <a:lvl9pPr marL="0" indent="0" algn="l" defTabSz="914377" rtl="0" eaLnBrk="1" latinLnBrk="0" hangingPunct="1">
              <a:lnSpc>
                <a:spcPct val="95000"/>
              </a:lnSpc>
              <a:spcBef>
                <a:spcPts val="800"/>
              </a:spcBef>
              <a:buFont typeface="Arial" panose="020B0604020202020204" pitchFamily="34" charset="0"/>
              <a:buNone/>
              <a:defRPr sz="1800" kern="1200">
                <a:solidFill>
                  <a:schemeClr val="tx1"/>
                </a:solidFill>
                <a:latin typeface="+mj-lt"/>
                <a:ea typeface="+mn-ea"/>
                <a:cs typeface="+mn-cs"/>
              </a:defRPr>
            </a:lvl9pPr>
          </a:lstStyle>
          <a:p>
            <a:pPr marL="645750" lvl="2" indent="-285750" algn="just">
              <a:lnSpc>
                <a:spcPct val="150000"/>
              </a:lnSpc>
              <a:buFont typeface="Wingdings" panose="05000000000000000000" pitchFamily="2" charset="2"/>
              <a:buChar char="Ø"/>
            </a:pPr>
            <a:endParaRPr lang="fr-FR" dirty="0">
              <a:solidFill>
                <a:srgbClr val="323E48"/>
              </a:solidFill>
              <a:latin typeface="+mj-lt"/>
            </a:endParaRPr>
          </a:p>
        </p:txBody>
      </p:sp>
      <p:sp>
        <p:nvSpPr>
          <p:cNvPr id="34" name="Content Placeholder 33">
            <a:extLst>
              <a:ext uri="{FF2B5EF4-FFF2-40B4-BE49-F238E27FC236}">
                <a16:creationId xmlns:a16="http://schemas.microsoft.com/office/drawing/2014/main" id="{662F1015-3733-4A77-B38C-8B1886E25D72}"/>
              </a:ext>
            </a:extLst>
          </p:cNvPr>
          <p:cNvSpPr>
            <a:spLocks noGrp="1"/>
          </p:cNvSpPr>
          <p:nvPr>
            <p:ph idx="13"/>
          </p:nvPr>
        </p:nvSpPr>
        <p:spPr/>
        <p:txBody>
          <a:bodyPr/>
          <a:lstStyle/>
          <a:p>
            <a:pPr marL="571500" indent="-571500" algn="just">
              <a:lnSpc>
                <a:spcPct val="150000"/>
              </a:lnSpc>
              <a:buFont typeface="Wingdings" panose="05000000000000000000" pitchFamily="2" charset="2"/>
              <a:buChar char="ü"/>
            </a:pPr>
            <a:r>
              <a:rPr lang="fr-FR" b="1" dirty="0">
                <a:solidFill>
                  <a:srgbClr val="323E48"/>
                </a:solidFill>
                <a:latin typeface="+mj-lt"/>
              </a:rPr>
              <a:t>Personnes non salariées</a:t>
            </a:r>
          </a:p>
          <a:p>
            <a:pPr marL="571500" indent="-571500" algn="just">
              <a:lnSpc>
                <a:spcPct val="150000"/>
              </a:lnSpc>
              <a:buFont typeface="Wingdings" panose="05000000000000000000" pitchFamily="2" charset="2"/>
              <a:buChar char="ü"/>
            </a:pPr>
            <a:r>
              <a:rPr lang="fr-FR" b="1" dirty="0">
                <a:solidFill>
                  <a:srgbClr val="323E48"/>
                </a:solidFill>
                <a:latin typeface="+mj-lt"/>
              </a:rPr>
              <a:t>accueillies par personne morale / R&amp;D</a:t>
            </a:r>
          </a:p>
          <a:p>
            <a:pPr marL="571500" indent="-571500" algn="just">
              <a:lnSpc>
                <a:spcPct val="150000"/>
              </a:lnSpc>
              <a:buFont typeface="Wingdings" panose="05000000000000000000" pitchFamily="2" charset="2"/>
              <a:buChar char="ü"/>
            </a:pPr>
            <a:r>
              <a:rPr lang="fr-FR" b="1" dirty="0">
                <a:solidFill>
                  <a:srgbClr val="323E48"/>
                </a:solidFill>
                <a:latin typeface="+mj-lt"/>
              </a:rPr>
              <a:t>convention </a:t>
            </a:r>
            <a:r>
              <a:rPr lang="fr-FR" dirty="0">
                <a:solidFill>
                  <a:srgbClr val="323E48"/>
                </a:solidFill>
                <a:latin typeface="+mj-lt"/>
              </a:rPr>
              <a:t>(stagiaire, doctorant étranger, professeurs, directeurs émérites…)</a:t>
            </a:r>
          </a:p>
          <a:p>
            <a:pPr marL="571500" indent="-571500" algn="just">
              <a:lnSpc>
                <a:spcPct val="150000"/>
              </a:lnSpc>
              <a:buFont typeface="Wingdings" panose="05000000000000000000" pitchFamily="2" charset="2"/>
              <a:buChar char="ü"/>
            </a:pPr>
            <a:r>
              <a:rPr lang="fr-FR" dirty="0">
                <a:solidFill>
                  <a:srgbClr val="323E48"/>
                </a:solidFill>
                <a:latin typeface="+mj-lt"/>
              </a:rPr>
              <a:t>Applicable aux inventions </a:t>
            </a:r>
            <a:r>
              <a:rPr lang="fr-FR" b="1" dirty="0">
                <a:solidFill>
                  <a:srgbClr val="323E48"/>
                </a:solidFill>
                <a:latin typeface="+mj-lt"/>
              </a:rPr>
              <a:t>créées à compter</a:t>
            </a:r>
            <a:r>
              <a:rPr lang="fr-FR" dirty="0">
                <a:solidFill>
                  <a:srgbClr val="323E48"/>
                </a:solidFill>
                <a:latin typeface="+mj-lt"/>
              </a:rPr>
              <a:t> </a:t>
            </a:r>
            <a:r>
              <a:rPr lang="fr-FR" b="1" dirty="0">
                <a:latin typeface="+mj-lt"/>
              </a:rPr>
              <a:t>17 décembre 2021</a:t>
            </a:r>
          </a:p>
          <a:p>
            <a:pPr lvl="1" algn="just">
              <a:lnSpc>
                <a:spcPct val="150000"/>
              </a:lnSpc>
            </a:pPr>
            <a:endParaRPr lang="fr-FR" b="1" u="sng" dirty="0">
              <a:solidFill>
                <a:srgbClr val="FFA169"/>
              </a:solidFill>
              <a:latin typeface="+mj-lt"/>
            </a:endParaRPr>
          </a:p>
          <a:p>
            <a:pPr marL="645750" lvl="2" indent="-285750" algn="just">
              <a:lnSpc>
                <a:spcPct val="150000"/>
              </a:lnSpc>
              <a:buFont typeface="Wingdings" panose="05000000000000000000" pitchFamily="2" charset="2"/>
              <a:buChar char="Ø"/>
            </a:pPr>
            <a:endParaRPr lang="fr-FR" dirty="0">
              <a:solidFill>
                <a:srgbClr val="323E48"/>
              </a:solidFill>
              <a:latin typeface="+mj-lt"/>
            </a:endParaRPr>
          </a:p>
          <a:p>
            <a:endParaRPr lang="fr-FR" dirty="0"/>
          </a:p>
        </p:txBody>
      </p:sp>
    </p:spTree>
    <p:extLst>
      <p:ext uri="{BB962C8B-B14F-4D97-AF65-F5344CB8AC3E}">
        <p14:creationId xmlns:p14="http://schemas.microsoft.com/office/powerpoint/2010/main" val="2674787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904A7ED-11A7-4A59-9610-1E6F053FCCFB}"/>
              </a:ext>
            </a:extLst>
          </p:cNvPr>
          <p:cNvSpPr>
            <a:spLocks noGrp="1"/>
          </p:cNvSpPr>
          <p:nvPr>
            <p:ph type="ftr" sz="quarter" idx="11"/>
          </p:nvPr>
        </p:nvSpPr>
        <p:spPr/>
        <p:txBody>
          <a:bodyPr/>
          <a:lstStyle/>
          <a:p>
            <a:r>
              <a:rPr lang="fr-FR" sz="800" dirty="0"/>
              <a:t>LIFE SCIENCES - Conférence Annuelle – 07 juin 2022</a:t>
            </a:r>
            <a:endParaRPr lang="en-GB" dirty="0"/>
          </a:p>
        </p:txBody>
      </p:sp>
      <p:sp>
        <p:nvSpPr>
          <p:cNvPr id="4" name="Subtitle 3">
            <a:extLst>
              <a:ext uri="{FF2B5EF4-FFF2-40B4-BE49-F238E27FC236}">
                <a16:creationId xmlns:a16="http://schemas.microsoft.com/office/drawing/2014/main" id="{E3B30D0A-1532-4CB0-B3DA-F9AD9795D616}"/>
              </a:ext>
            </a:extLst>
          </p:cNvPr>
          <p:cNvSpPr>
            <a:spLocks noGrp="1"/>
          </p:cNvSpPr>
          <p:nvPr>
            <p:ph type="subTitle" idx="12"/>
          </p:nvPr>
        </p:nvSpPr>
        <p:spPr/>
        <p:txBody>
          <a:bodyPr/>
          <a:lstStyle/>
          <a:p>
            <a:r>
              <a:rPr lang="fr-FR" dirty="0"/>
              <a:t>Les logiciels aussi… Article L. 113-9-1 CPI</a:t>
            </a:r>
          </a:p>
        </p:txBody>
      </p:sp>
      <p:sp>
        <p:nvSpPr>
          <p:cNvPr id="5" name="Title 4">
            <a:extLst>
              <a:ext uri="{FF2B5EF4-FFF2-40B4-BE49-F238E27FC236}">
                <a16:creationId xmlns:a16="http://schemas.microsoft.com/office/drawing/2014/main" id="{0064D566-9989-4050-9EDA-4C1C296580C9}"/>
              </a:ext>
            </a:extLst>
          </p:cNvPr>
          <p:cNvSpPr>
            <a:spLocks noGrp="1"/>
          </p:cNvSpPr>
          <p:nvPr>
            <p:ph type="title"/>
          </p:nvPr>
        </p:nvSpPr>
        <p:spPr/>
        <p:txBody>
          <a:bodyPr/>
          <a:lstStyle/>
          <a:p>
            <a:r>
              <a:rPr lang="fr-FR" sz="3200" dirty="0"/>
              <a:t>Ordonnance n° 2021-1658 du 15 décembre 2021</a:t>
            </a:r>
          </a:p>
        </p:txBody>
      </p:sp>
      <p:sp>
        <p:nvSpPr>
          <p:cNvPr id="7" name="TextBox 6">
            <a:extLst>
              <a:ext uri="{FF2B5EF4-FFF2-40B4-BE49-F238E27FC236}">
                <a16:creationId xmlns:a16="http://schemas.microsoft.com/office/drawing/2014/main" id="{A6DD05A2-D398-4F80-B591-FE45710E0B36}"/>
              </a:ext>
            </a:extLst>
          </p:cNvPr>
          <p:cNvSpPr txBox="1"/>
          <p:nvPr/>
        </p:nvSpPr>
        <p:spPr>
          <a:xfrm>
            <a:off x="719137" y="1805502"/>
            <a:ext cx="8355014" cy="2915670"/>
          </a:xfrm>
          <a:prstGeom prst="rect">
            <a:avLst/>
          </a:prstGeom>
          <a:noFill/>
        </p:spPr>
        <p:txBody>
          <a:bodyPr wrap="square">
            <a:spAutoFit/>
          </a:bodyPr>
          <a:lstStyle/>
          <a:p>
            <a:pPr lvl="1" algn="just"/>
            <a:r>
              <a:rPr lang="fr-FR" dirty="0">
                <a:latin typeface="+mj-lt"/>
              </a:rPr>
              <a:t>Sauf stipulations contraires </a:t>
            </a:r>
          </a:p>
          <a:p>
            <a:pPr lvl="1" algn="just"/>
            <a:r>
              <a:rPr lang="fr-FR" b="1" dirty="0">
                <a:latin typeface="+mj-lt"/>
              </a:rPr>
              <a:t>Personnes</a:t>
            </a:r>
            <a:r>
              <a:rPr lang="fr-FR" dirty="0">
                <a:latin typeface="+mj-lt"/>
              </a:rPr>
              <a:t> </a:t>
            </a:r>
            <a:r>
              <a:rPr lang="fr-FR" b="1" dirty="0">
                <a:latin typeface="+mj-lt"/>
              </a:rPr>
              <a:t>accueillies dans le cadre d'une convention </a:t>
            </a:r>
          </a:p>
          <a:p>
            <a:pPr lvl="1" algn="just"/>
            <a:r>
              <a:rPr lang="fr-FR" dirty="0">
                <a:latin typeface="+mj-lt"/>
              </a:rPr>
              <a:t>par une personne morale de droit privé ou de droit public réalisant de la </a:t>
            </a:r>
            <a:r>
              <a:rPr lang="fr-FR" b="1" dirty="0">
                <a:latin typeface="+mj-lt"/>
              </a:rPr>
              <a:t>recherche </a:t>
            </a:r>
          </a:p>
          <a:p>
            <a:pPr lvl="1" algn="just"/>
            <a:r>
              <a:rPr lang="fr-FR" dirty="0">
                <a:latin typeface="+mj-lt"/>
              </a:rPr>
              <a:t>créent des </a:t>
            </a:r>
            <a:r>
              <a:rPr lang="fr-FR" b="1" dirty="0">
                <a:latin typeface="+mj-lt"/>
              </a:rPr>
              <a:t>logiciels </a:t>
            </a:r>
          </a:p>
          <a:p>
            <a:pPr lvl="1" algn="just"/>
            <a:r>
              <a:rPr lang="fr-FR" b="1" dirty="0">
                <a:latin typeface="+mj-lt"/>
              </a:rPr>
              <a:t>dans l'exercice de leurs missions ou d'après les instructions de la structure d'accueil</a:t>
            </a:r>
            <a:endParaRPr lang="fr-FR" dirty="0">
              <a:latin typeface="+mj-lt"/>
            </a:endParaRPr>
          </a:p>
          <a:p>
            <a:pPr lvl="1" algn="just"/>
            <a:r>
              <a:rPr lang="fr-FR" dirty="0">
                <a:latin typeface="+mj-lt"/>
              </a:rPr>
              <a:t>leurs droits patrimoniaux sur ces logiciels et leur documentation </a:t>
            </a:r>
          </a:p>
          <a:p>
            <a:pPr lvl="1" algn="just"/>
            <a:r>
              <a:rPr lang="fr-FR" dirty="0">
                <a:latin typeface="+mj-lt"/>
              </a:rPr>
              <a:t>sont dévolus à cette </a:t>
            </a:r>
            <a:r>
              <a:rPr lang="fr-FR" b="1" dirty="0">
                <a:latin typeface="+mj-lt"/>
              </a:rPr>
              <a:t>structure d'accueil, </a:t>
            </a:r>
            <a:endParaRPr lang="fr-FR" dirty="0">
              <a:latin typeface="+mj-lt"/>
            </a:endParaRPr>
          </a:p>
          <a:p>
            <a:pPr lvl="1" algn="just"/>
            <a:r>
              <a:rPr lang="fr-FR" dirty="0">
                <a:latin typeface="+mj-lt"/>
              </a:rPr>
              <a:t>Si </a:t>
            </a:r>
            <a:r>
              <a:rPr lang="fr-FR" b="1" dirty="0">
                <a:latin typeface="+mj-lt"/>
              </a:rPr>
              <a:t>contrepartie</a:t>
            </a:r>
            <a:r>
              <a:rPr lang="fr-FR" dirty="0">
                <a:latin typeface="+mj-lt"/>
              </a:rPr>
              <a:t> et sous </a:t>
            </a:r>
            <a:r>
              <a:rPr lang="fr-FR" b="1" dirty="0">
                <a:latin typeface="+mj-lt"/>
              </a:rPr>
              <a:t>l'autorité d'un responsable </a:t>
            </a:r>
            <a:r>
              <a:rPr lang="fr-FR" dirty="0">
                <a:latin typeface="+mj-lt"/>
              </a:rPr>
              <a:t>de la structure.</a:t>
            </a:r>
          </a:p>
        </p:txBody>
      </p:sp>
    </p:spTree>
    <p:extLst>
      <p:ext uri="{BB962C8B-B14F-4D97-AF65-F5344CB8AC3E}">
        <p14:creationId xmlns:p14="http://schemas.microsoft.com/office/powerpoint/2010/main" val="1278918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38C5FA-B014-4339-9570-0D08C80A2A26}"/>
              </a:ext>
            </a:extLst>
          </p:cNvPr>
          <p:cNvSpPr>
            <a:spLocks noGrp="1"/>
          </p:cNvSpPr>
          <p:nvPr>
            <p:ph type="body" sz="quarter" idx="10"/>
          </p:nvPr>
        </p:nvSpPr>
        <p:spPr/>
        <p:txBody>
          <a:bodyPr/>
          <a:lstStyle/>
          <a:p>
            <a:r>
              <a:rPr lang="fr-FR" dirty="0"/>
              <a:t>2</a:t>
            </a:r>
          </a:p>
        </p:txBody>
      </p:sp>
      <p:sp>
        <p:nvSpPr>
          <p:cNvPr id="5" name="Title 4">
            <a:extLst>
              <a:ext uri="{FF2B5EF4-FFF2-40B4-BE49-F238E27FC236}">
                <a16:creationId xmlns:a16="http://schemas.microsoft.com/office/drawing/2014/main" id="{7A9350C1-069C-48F5-9168-A12067379782}"/>
              </a:ext>
            </a:extLst>
          </p:cNvPr>
          <p:cNvSpPr>
            <a:spLocks noGrp="1"/>
          </p:cNvSpPr>
          <p:nvPr>
            <p:ph type="title"/>
          </p:nvPr>
        </p:nvSpPr>
        <p:spPr>
          <a:xfrm>
            <a:off x="809625" y="2993407"/>
            <a:ext cx="5286375" cy="1512000"/>
          </a:xfrm>
        </p:spPr>
        <p:txBody>
          <a:bodyPr/>
          <a:lstStyle/>
          <a:p>
            <a:r>
              <a:rPr lang="fr-BE" dirty="0"/>
              <a:t>Les interdictions provisoires</a:t>
            </a:r>
          </a:p>
        </p:txBody>
      </p:sp>
    </p:spTree>
    <p:extLst>
      <p:ext uri="{BB962C8B-B14F-4D97-AF65-F5344CB8AC3E}">
        <p14:creationId xmlns:p14="http://schemas.microsoft.com/office/powerpoint/2010/main" val="2311476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IAAAAAAAAAAwAAAAMAAAAA/////wQASwwAAAAAAAAAAAAAIAD///////////////8AAAD///////////////8DAAAAAgD///////////////////////////////////////////////////////////////////////////////////////////////////////////////////////////////////////////////////////////////////////////////////////////////////////////////////////////////////////////////////////////////////////////////////////////////////////////////////////////////////////////////////////////////////////////////////////////////////////////////////////////////////////////////////////////////////////////////////////////////////////////////8BACAA////////////////AAAO////////AwAAAAMA////////////////////////////////////////////////////////////////////////////////////////////////////////////////////////////////////////////////////////////////////////////////////////////////////////////////////////////////////////////////////////////////////////////////////////////////////////////////////////////////////////////////////////////////////////////////////////////////////////////////////////////////////////////////////////////////////////////////////////////////////////////////////////AgABAP///////wQAAAACABAACxXR5USMIo1Bkrn54xwseHwFAAAAAAADAAAAAAADAAAAAwADAAEA////////BAAAAAMAEAALGnb+YUqVWkeVCLpFWmp14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MA////////BAAAAAIA////////BAAAAAIA////////////////////////////////////////////////////////////////////////////////////////////////////////////////////////////////////////////////////////////////////////////////////////////////////////////////////////////////////////////////////////////////////////////////////////////////////////////////////////////////////////////////////////////////////////////////////////////////////////////////////////////////////////////////AQAgAf///////////////wAADv///////wQAAAACAP///////////////////////////////////////////////////////////////////////////////////////////////////////////////////////////////////////////////////////////////////////////////////////////////////////////////////////////////////////////////////////////////////////////////////////////////////////////////////////////////////////////////////////////////////////////////////////////////////////////////////////////////////////////////////////////////////////////////////////////////////////////////////////wIABQEDAAAAAgD///////8aAAZMaW5rZWRTaGFwZXNEYXRhUHJvcGVydHlfMAUAAAAAAAQAAAADAAQAAAABAAQAAAADAP///////wQAAAADAP///////wQAAAAAAP///////wQAAAAA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XR5USMIo1Bkrn54xwseHwDRGF0YQAbAAAABExpbmtlZFNoYXBlRGF0YQAFAAAAAAACTmFtZQAZAAAATGlua2VkU2hhcGVzRGF0YVByb3BlcnR5ABBWZXJzaW9uAAAAAAAJTGFzdFdyaXRlACn7zwJ8AQAAAAEA/////50AnQAAAAVfaWQAEAAAAAQadv5hSpVaR5UIukVaanXjA0RhdGEAKgAAAAhQcmVzZW50YXRpb25TY2FubmVkRm9yTGlua2VkU2hhcGVzAAEAAk5hbWUAJAAAAExpbmtlZFNoYXBlUHJlc2VudGF0aW9uU2V0dGluZ3NEYXRhABBWZXJzaW9uAAAAAAAJTGFzdFdyaXRlAGr7zwJ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Bird &amp; Bird - 16x9">
  <a:themeElements>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fontScheme name="Bird &amp; Bird">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raClrScheme>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extraClrScheme>
    <a:extraClrScheme>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extraClrScheme>
    <a:extraClrScheme>
      <a:clrScheme name="Bird &amp; Bird - Pink">
        <a:dk1>
          <a:srgbClr val="323E48"/>
        </a:dk1>
        <a:lt1>
          <a:sysClr val="window" lastClr="FFFFFF"/>
        </a:lt1>
        <a:dk2>
          <a:srgbClr val="CC3666"/>
        </a:dk2>
        <a:lt2>
          <a:srgbClr val="E4E4E4"/>
        </a:lt2>
        <a:accent1>
          <a:srgbClr val="FFB0BA"/>
        </a:accent1>
        <a:accent2>
          <a:srgbClr val="D19EC7"/>
        </a:accent2>
        <a:accent3>
          <a:srgbClr val="FFA169"/>
        </a:accent3>
        <a:accent4>
          <a:srgbClr val="85ABE3"/>
        </a:accent4>
        <a:accent5>
          <a:srgbClr val="EDC2B2"/>
        </a:accent5>
        <a:accent6>
          <a:srgbClr val="FFE84C"/>
        </a:accent6>
        <a:hlink>
          <a:srgbClr val="CC3666"/>
        </a:hlink>
        <a:folHlink>
          <a:srgbClr val="323E48"/>
        </a:folHlink>
      </a:clrScheme>
    </a:extraClrScheme>
    <a:extraClrScheme>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extraClrScheme>
  </a:extraClrSchemeLst>
  <a:custClrLst>
    <a:custClr name="Lime">
      <a:srgbClr val="C0DF8A"/>
    </a:custClr>
    <a:custClr name="Teal">
      <a:srgbClr val="9FDDD3"/>
    </a:custClr>
    <a:custClr name="Pink">
      <a:srgbClr val="FFB1BA"/>
    </a:custClr>
    <a:custClr name="Lilac">
      <a:srgbClr val="D09EC8"/>
    </a:custClr>
    <a:custClr name="Yellow">
      <a:srgbClr val="FFE84D"/>
    </a:custClr>
    <a:custClr name="Blue">
      <a:srgbClr val="84AAE4"/>
    </a:custClr>
    <a:custClr name="Orange">
      <a:srgbClr val="FFA069"/>
    </a:custClr>
    <a:custClr name="Sand">
      <a:srgbClr val="EDC2B2"/>
    </a:custClr>
    <a:custClr name=" ">
      <a:srgbClr val="FFFFFF"/>
    </a:custClr>
    <a:custClr name=" ">
      <a:srgbClr val="FFFFFF"/>
    </a:custClr>
    <a:custClr name="Lime 80%">
      <a:srgbClr val="CDE5A1"/>
    </a:custClr>
    <a:custClr name="Teal 80%">
      <a:srgbClr val="B2E4DC"/>
    </a:custClr>
    <a:custClr name="Pink 80%">
      <a:srgbClr val="FFC1C8"/>
    </a:custClr>
    <a:custClr name="Lilac 80%">
      <a:srgbClr val="D9B1D3"/>
    </a:custClr>
    <a:custClr name="Yellow 80%">
      <a:srgbClr val="FFED71"/>
    </a:custClr>
    <a:custClr name="Blue 80%">
      <a:srgbClr val="9DBBE9"/>
    </a:custClr>
    <a:custClr name="Orange 80%">
      <a:srgbClr val="FFB387"/>
    </a:custClr>
    <a:custClr name="Sand 80%">
      <a:srgbClr val="F1CEC1"/>
    </a:custClr>
    <a:custClr name=" ">
      <a:srgbClr val="FFFFFF"/>
    </a:custClr>
    <a:custClr name=" ">
      <a:srgbClr val="FFFFFF"/>
    </a:custClr>
    <a:custClr name="Lime 50%">
      <a:srgbClr val="E0EFC5"/>
    </a:custClr>
    <a:custClr name="Teal 50%">
      <a:srgbClr val="CFEEE9"/>
    </a:custClr>
    <a:custClr name="Pink 50%">
      <a:srgbClr val="FFD8DD"/>
    </a:custClr>
    <a:custClr name="Lilac 50%">
      <a:srgbClr val="E8CFE4"/>
    </a:custClr>
    <a:custClr name="Yellow 50%">
      <a:srgbClr val="FFF4A6"/>
    </a:custClr>
    <a:custClr name="Blue 50%">
      <a:srgbClr val="C2D5F2"/>
    </a:custClr>
    <a:custClr name="Orange 50%">
      <a:srgbClr val="FFD0B4"/>
    </a:custClr>
    <a:custClr name="Sand 50%">
      <a:srgbClr val="F6E1D9"/>
    </a:custClr>
    <a:custClr name=" ">
      <a:srgbClr val="FFFFFF"/>
    </a:custClr>
    <a:custClr name=" ">
      <a:srgbClr val="FFFFFF"/>
    </a:custClr>
    <a:custClr name="Lime 30%">
      <a:srgbClr val="ECF5DC"/>
    </a:custClr>
    <a:custClr name="Teal 30%">
      <a:srgbClr val="E2F5F2"/>
    </a:custClr>
    <a:custClr name="Pink 30%">
      <a:srgbClr val="FFE8EA"/>
    </a:custClr>
    <a:custClr name="Lilac 30%">
      <a:srgbClr val="F1E2EF"/>
    </a:custClr>
    <a:custClr name="Yellow 30%">
      <a:srgbClr val="FFF8CA"/>
    </a:custClr>
    <a:custClr name="Blue 30%">
      <a:srgbClr val="DAE6F7"/>
    </a:custClr>
    <a:custClr name="Orange 30%">
      <a:srgbClr val="FFE3D2"/>
    </a:custClr>
    <a:custClr name="Sand 30%">
      <a:srgbClr val="FAEDE8"/>
    </a:custClr>
    <a:custClr name=" ">
      <a:srgbClr val="FFFFFF"/>
    </a:custClr>
    <a:custClr name=" ">
      <a:srgbClr val="FFFFFF"/>
    </a:custClr>
    <a:custClr name="Secondary Dark Green">
      <a:srgbClr val="477628"/>
    </a:custClr>
    <a:custClr name="Secondary Dark Blue">
      <a:srgbClr val="005C83"/>
    </a:custClr>
    <a:custClr name="Secondary Dark Purple">
      <a:srgbClr val="5B255D"/>
    </a:custClr>
    <a:custClr name="Secondary Dark Pink">
      <a:srgbClr val="CB3665"/>
    </a:custClr>
  </a:custClrLst>
  <a:extLst>
    <a:ext uri="{05A4C25C-085E-4340-85A3-A5531E510DB2}">
      <thm15:themeFamily xmlns:thm15="http://schemas.microsoft.com/office/thememl/2012/main" name="Our Brand - 16x9 template.potx" id="{B529E14C-4340-4235-B10E-B1092BB43406}" vid="{E131E02B-1C93-43F0-B208-4F449FF1181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5D18E754D399F47815B5731EFB7C9E7" ma:contentTypeVersion="15" ma:contentTypeDescription="Create a new document." ma:contentTypeScope="" ma:versionID="67ab5e2c3b70ddc7254d3120b8837971">
  <xsd:schema xmlns:xsd="http://www.w3.org/2001/XMLSchema" xmlns:xs="http://www.w3.org/2001/XMLSchema" xmlns:p="http://schemas.microsoft.com/office/2006/metadata/properties" xmlns:ns1="http://schemas.microsoft.com/sharepoint/v3" xmlns:ns2="e139d09a-41d9-45b5-98a0-2e84292a6e2c" xmlns:ns3="a98157ff-b017-4921-8ad2-a7dd8004cc35" targetNamespace="http://schemas.microsoft.com/office/2006/metadata/properties" ma:root="true" ma:fieldsID="b583f095682e950bc8561491ae59fa51" ns1:_="" ns2:_="" ns3:_="">
    <xsd:import namespace="http://schemas.microsoft.com/sharepoint/v3"/>
    <xsd:import namespace="e139d09a-41d9-45b5-98a0-2e84292a6e2c"/>
    <xsd:import namespace="a98157ff-b017-4921-8ad2-a7dd8004cc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39d09a-41d9-45b5-98a0-2e84292a6e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8157ff-b017-4921-8ad2-a7dd8004cc3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8467B0-637C-4192-BD0A-159DA533E583}">
  <ds:schemaRefs>
    <ds:schemaRef ds:uri="http://schemas.microsoft.com/sharepoint/v3/contenttype/forms"/>
  </ds:schemaRefs>
</ds:datastoreItem>
</file>

<file path=customXml/itemProps2.xml><?xml version="1.0" encoding="utf-8"?>
<ds:datastoreItem xmlns:ds="http://schemas.openxmlformats.org/officeDocument/2006/customXml" ds:itemID="{97DD9CF9-8FFE-42E6-A34E-F2A385143CE7}">
  <ds:schemaRefs>
    <ds:schemaRef ds:uri="a98157ff-b017-4921-8ad2-a7dd8004cc35"/>
    <ds:schemaRef ds:uri="http://schemas.microsoft.com/office/2006/documentManagement/types"/>
    <ds:schemaRef ds:uri="http://purl.org/dc/dcmitype/"/>
    <ds:schemaRef ds:uri="http://purl.org/dc/terms/"/>
    <ds:schemaRef ds:uri="http://www.w3.org/XML/1998/namespace"/>
    <ds:schemaRef ds:uri="http://schemas.microsoft.com/office/infopath/2007/PartnerControls"/>
    <ds:schemaRef ds:uri="http://schemas.microsoft.com/sharepoint/v3"/>
    <ds:schemaRef ds:uri="http://schemas.openxmlformats.org/package/2006/metadata/core-properties"/>
    <ds:schemaRef ds:uri="e139d09a-41d9-45b5-98a0-2e84292a6e2c"/>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5E063506-32F2-45D2-99EF-6576814F8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139d09a-41d9-45b5-98a0-2e84292a6e2c"/>
    <ds:schemaRef ds:uri="a98157ff-b017-4921-8ad2-a7dd8004cc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825</TotalTime>
  <Words>4106</Words>
  <Application>Microsoft Office PowerPoint</Application>
  <PresentationFormat>Widescreen</PresentationFormat>
  <Paragraphs>365</Paragraphs>
  <Slides>39</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9</vt:i4>
      </vt:variant>
    </vt:vector>
  </HeadingPairs>
  <TitlesOfParts>
    <vt:vector size="45" baseType="lpstr">
      <vt:lpstr>Arial</vt:lpstr>
      <vt:lpstr>Calibri</vt:lpstr>
      <vt:lpstr>Georgia</vt:lpstr>
      <vt:lpstr>Symbol</vt:lpstr>
      <vt:lpstr>Wingdings</vt:lpstr>
      <vt:lpstr>Bird &amp; Bird - 16x9</vt:lpstr>
      <vt:lpstr> LIFE SCIENCES - Conférence Annuelle Frédéric Portal</vt:lpstr>
      <vt:lpstr>Les droits sur l'invention</vt:lpstr>
      <vt:lpstr>Principe</vt:lpstr>
      <vt:lpstr>Principe</vt:lpstr>
      <vt:lpstr>Principe</vt:lpstr>
      <vt:lpstr>Affaire Puech contre CNRS</vt:lpstr>
      <vt:lpstr>L. 611-7-1 CPI</vt:lpstr>
      <vt:lpstr>Ordonnance n° 2021-1658 du 15 décembre 2021</vt:lpstr>
      <vt:lpstr>Les interdictions provisoires</vt:lpstr>
      <vt:lpstr>France</vt:lpstr>
      <vt:lpstr>Principe</vt:lpstr>
      <vt:lpstr>Critère de proportionnalité</vt:lpstr>
      <vt:lpstr>Directive 2004/48/CE </vt:lpstr>
      <vt:lpstr>Directive 2004/48/CE  </vt:lpstr>
      <vt:lpstr>Phoenix Contact GmbH &amp; Co. KG c. HARTING Deutschland GmbH &amp; Co. KG</vt:lpstr>
      <vt:lpstr>Phoenix Contact GmbH &amp; Co. KG c. HARTING Deutschland</vt:lpstr>
      <vt:lpstr>PowerPoint Presentation</vt:lpstr>
      <vt:lpstr>Phoenix Contact GmbH &amp; Co. KG c. HARTING Deutschland</vt:lpstr>
      <vt:lpstr>Les interdictions provisoires devant la JUB</vt:lpstr>
      <vt:lpstr>Les interdictions provisoires devant la JUB</vt:lpstr>
      <vt:lpstr>Les interdictions provisoires devant la JUB</vt:lpstr>
      <vt:lpstr>Les interdictions provisoires devant la JUB</vt:lpstr>
      <vt:lpstr>Les interdictions provisoires devant la JUB</vt:lpstr>
      <vt:lpstr>Les interdictions provisoires devant la JUB</vt:lpstr>
      <vt:lpstr>Les interdictions provisoires devant la JUB</vt:lpstr>
      <vt:lpstr>Les interdictions provisoires devant la JUB</vt:lpstr>
      <vt:lpstr>Les interdictions provisoires devant la JUB</vt:lpstr>
      <vt:lpstr>Les interdictions provisoires devant la JUB</vt:lpstr>
      <vt:lpstr>Les interdictions provisoires devant la JUB</vt:lpstr>
      <vt:lpstr>Priorité </vt:lpstr>
      <vt:lpstr>Droit de priorité</vt:lpstr>
      <vt:lpstr>Droit de priorité</vt:lpstr>
      <vt:lpstr>Droit de priorité</vt:lpstr>
      <vt:lpstr>Droit de priorité</vt:lpstr>
      <vt:lpstr>Droit de priorité</vt:lpstr>
      <vt:lpstr>Droit de priorité</vt:lpstr>
      <vt:lpstr>Droit de priorité</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1 – 44pt</dc:title>
  <dc:creator>Alois Requin</dc:creator>
  <cp:lastModifiedBy>Frederic Portal</cp:lastModifiedBy>
  <cp:revision>278</cp:revision>
  <cp:lastPrinted>2022-06-02T13:23:03Z</cp:lastPrinted>
  <dcterms:created xsi:type="dcterms:W3CDTF">2022-04-28T11:56:01Z</dcterms:created>
  <dcterms:modified xsi:type="dcterms:W3CDTF">2022-06-07T07:3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D18E754D399F47815B5731EFB7C9E7</vt:lpwstr>
  </property>
  <property fmtid="{D5CDD505-2E9C-101B-9397-08002B2CF9AE}" pid="3" name="TwoBirdsTemplateName">
    <vt:lpwstr>Our Brand - 16x9 template</vt:lpwstr>
  </property>
  <property fmtid="{D5CDD505-2E9C-101B-9397-08002B2CF9AE}" pid="4" name="TwoBirdsTemplateDate">
    <vt:lpwstr>11 December 2022</vt:lpwstr>
  </property>
  <property fmtid="{D5CDD505-2E9C-101B-9397-08002B2CF9AE}" pid="5" name="TwoBirdsTemplateVersion">
    <vt:lpwstr>1.0</vt:lpwstr>
  </property>
</Properties>
</file>